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78" r:id="rId4"/>
    <p:sldMasterId id="2147483913" r:id="rId5"/>
    <p:sldMasterId id="2147483918" r:id="rId6"/>
    <p:sldMasterId id="2147483933" r:id="rId7"/>
    <p:sldMasterId id="2147483937" r:id="rId8"/>
    <p:sldMasterId id="2147483943" r:id="rId9"/>
    <p:sldMasterId id="2147483969" r:id="rId10"/>
    <p:sldMasterId id="2147483985" r:id="rId11"/>
  </p:sldMasterIdLst>
  <p:notesMasterIdLst>
    <p:notesMasterId r:id="rId38"/>
  </p:notesMasterIdLst>
  <p:sldIdLst>
    <p:sldId id="256" r:id="rId12"/>
    <p:sldId id="263" r:id="rId13"/>
    <p:sldId id="820" r:id="rId14"/>
    <p:sldId id="266" r:id="rId15"/>
    <p:sldId id="815" r:id="rId16"/>
    <p:sldId id="813" r:id="rId17"/>
    <p:sldId id="803" r:id="rId18"/>
    <p:sldId id="804" r:id="rId19"/>
    <p:sldId id="805" r:id="rId20"/>
    <p:sldId id="806" r:id="rId21"/>
    <p:sldId id="807" r:id="rId22"/>
    <p:sldId id="808" r:id="rId23"/>
    <p:sldId id="809" r:id="rId24"/>
    <p:sldId id="821" r:id="rId25"/>
    <p:sldId id="822" r:id="rId26"/>
    <p:sldId id="267" r:id="rId27"/>
    <p:sldId id="810" r:id="rId28"/>
    <p:sldId id="811" r:id="rId29"/>
    <p:sldId id="424" r:id="rId30"/>
    <p:sldId id="421" r:id="rId31"/>
    <p:sldId id="418" r:id="rId32"/>
    <p:sldId id="425" r:id="rId33"/>
    <p:sldId id="802" r:id="rId34"/>
    <p:sldId id="823" r:id="rId35"/>
    <p:sldId id="818" r:id="rId36"/>
    <p:sldId id="260" r:id="rId37"/>
  </p:sldIdLst>
  <p:sldSz cx="18288000" cy="10288588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457004-904B-70E5-7B81-F0310BD9474A}" name="Zsuzsanna Pato" initials="ZP" userId="S::zpato@raponline.org::572c61f0-290f-4ed2-ae6f-22c66b994b68" providerId="AD"/>
  <p188:author id="{0DF88E0A-F931-7683-F7DC-F5E111A032ED}" name="Louise Sunderland" initials="LS" userId="S::lsunderland@raponline.org::949997e0-9145-490b-a679-6da204419575" providerId="AD"/>
  <p188:author id="{5BFD212F-4A89-1DB1-D5A5-1C89147EAEAE}" name="Andreas Jahn" initials="AJ" userId="S::ajahn@raponline.org::d55a7014-52ca-4af7-a647-18c6b3b242fb" providerId="AD"/>
  <p188:author id="{734CA63A-235C-655F-8CB5-1290CB9792FC}" name="Bram Claeys" initials="BC" userId="Bram Claeys" providerId="None"/>
  <p188:author id="{5B1E7BE7-2EBE-6A57-6A5E-F2A5722B781A}" name="Dominic Scott" initials="DS" userId="S::dscott@raponline.org::94722a31-3b25-4a5f-b0f0-07168c184ae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57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11D81D-378F-4F3B-9FD3-F47F684AD6EA}" v="5" dt="2022-12-14T13:19:06.16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presProps" Target="presProps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viewProps" Target="viewProps.xml"/><Relationship Id="rId45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9.xml"/><Relationship Id="rId4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ba Glass" userId="8756ae06-73e2-48f4-80fe-49e9a0ac70ce" providerId="ADAL" clId="{1BA51652-D521-47CA-ADB6-6C7ED79287E4}"/>
    <pc:docChg chg="undo custSel addSld delSld modSld">
      <pc:chgData name="Alba Glass" userId="8756ae06-73e2-48f4-80fe-49e9a0ac70ce" providerId="ADAL" clId="{1BA51652-D521-47CA-ADB6-6C7ED79287E4}" dt="2022-12-12T18:14:24.651" v="20" actId="732"/>
      <pc:docMkLst>
        <pc:docMk/>
      </pc:docMkLst>
      <pc:sldChg chg="addSp delSp modSp mod">
        <pc:chgData name="Alba Glass" userId="8756ae06-73e2-48f4-80fe-49e9a0ac70ce" providerId="ADAL" clId="{1BA51652-D521-47CA-ADB6-6C7ED79287E4}" dt="2022-12-12T18:14:24.651" v="20" actId="732"/>
        <pc:sldMkLst>
          <pc:docMk/>
          <pc:sldMk cId="3153132616" sldId="256"/>
        </pc:sldMkLst>
        <pc:picChg chg="del">
          <ac:chgData name="Alba Glass" userId="8756ae06-73e2-48f4-80fe-49e9a0ac70ce" providerId="ADAL" clId="{1BA51652-D521-47CA-ADB6-6C7ED79287E4}" dt="2022-12-12T18:13:13.236" v="16" actId="478"/>
          <ac:picMkLst>
            <pc:docMk/>
            <pc:sldMk cId="3153132616" sldId="256"/>
            <ac:picMk id="3" creationId="{86065D6D-5B67-4806-8758-B2FF6AC6F38F}"/>
          </ac:picMkLst>
        </pc:picChg>
        <pc:picChg chg="add mod modCrop">
          <ac:chgData name="Alba Glass" userId="8756ae06-73e2-48f4-80fe-49e9a0ac70ce" providerId="ADAL" clId="{1BA51652-D521-47CA-ADB6-6C7ED79287E4}" dt="2022-12-12T18:14:24.651" v="20" actId="732"/>
          <ac:picMkLst>
            <pc:docMk/>
            <pc:sldMk cId="3153132616" sldId="256"/>
            <ac:picMk id="4" creationId="{83928111-8AE9-BF65-7461-DC2C38FC3AE2}"/>
          </ac:picMkLst>
        </pc:picChg>
      </pc:sldChg>
      <pc:sldChg chg="modSp mod">
        <pc:chgData name="Alba Glass" userId="8756ae06-73e2-48f4-80fe-49e9a0ac70ce" providerId="ADAL" clId="{1BA51652-D521-47CA-ADB6-6C7ED79287E4}" dt="2022-12-12T17:59:26.442" v="9" actId="6549"/>
        <pc:sldMkLst>
          <pc:docMk/>
          <pc:sldMk cId="3290542844" sldId="263"/>
        </pc:sldMkLst>
        <pc:spChg chg="mod">
          <ac:chgData name="Alba Glass" userId="8756ae06-73e2-48f4-80fe-49e9a0ac70ce" providerId="ADAL" clId="{1BA51652-D521-47CA-ADB6-6C7ED79287E4}" dt="2022-12-12T17:59:26.442" v="9" actId="6549"/>
          <ac:spMkLst>
            <pc:docMk/>
            <pc:sldMk cId="3290542844" sldId="263"/>
            <ac:spMk id="7" creationId="{1D49A82E-FB2C-B993-0FBB-9E20253BFF96}"/>
          </ac:spMkLst>
        </pc:spChg>
      </pc:sldChg>
      <pc:sldChg chg="modSp mod">
        <pc:chgData name="Alba Glass" userId="8756ae06-73e2-48f4-80fe-49e9a0ac70ce" providerId="ADAL" clId="{1BA51652-D521-47CA-ADB6-6C7ED79287E4}" dt="2022-12-12T17:59:20.665" v="8" actId="6549"/>
        <pc:sldMkLst>
          <pc:docMk/>
          <pc:sldMk cId="833570864" sldId="818"/>
        </pc:sldMkLst>
        <pc:spChg chg="mod">
          <ac:chgData name="Alba Glass" userId="8756ae06-73e2-48f4-80fe-49e9a0ac70ce" providerId="ADAL" clId="{1BA51652-D521-47CA-ADB6-6C7ED79287E4}" dt="2022-12-12T17:59:20.665" v="8" actId="6549"/>
          <ac:spMkLst>
            <pc:docMk/>
            <pc:sldMk cId="833570864" sldId="818"/>
            <ac:spMk id="7" creationId="{1D49A82E-FB2C-B993-0FBB-9E20253BFF96}"/>
          </ac:spMkLst>
        </pc:spChg>
      </pc:sldChg>
      <pc:sldChg chg="modSp mod">
        <pc:chgData name="Alba Glass" userId="8756ae06-73e2-48f4-80fe-49e9a0ac70ce" providerId="ADAL" clId="{1BA51652-D521-47CA-ADB6-6C7ED79287E4}" dt="2022-12-12T17:49:36.142" v="3"/>
        <pc:sldMkLst>
          <pc:docMk/>
          <pc:sldMk cId="3213374788" sldId="825"/>
        </pc:sldMkLst>
        <pc:spChg chg="mod">
          <ac:chgData name="Alba Glass" userId="8756ae06-73e2-48f4-80fe-49e9a0ac70ce" providerId="ADAL" clId="{1BA51652-D521-47CA-ADB6-6C7ED79287E4}" dt="2022-12-12T17:49:36.142" v="3"/>
          <ac:spMkLst>
            <pc:docMk/>
            <pc:sldMk cId="3213374788" sldId="825"/>
            <ac:spMk id="19" creationId="{FF4B61D0-9742-0F27-E0F9-FE81B769D6D7}"/>
          </ac:spMkLst>
        </pc:spChg>
      </pc:sldChg>
      <pc:sldChg chg="modSp mod">
        <pc:chgData name="Alba Glass" userId="8756ae06-73e2-48f4-80fe-49e9a0ac70ce" providerId="ADAL" clId="{1BA51652-D521-47CA-ADB6-6C7ED79287E4}" dt="2022-12-12T17:50:02.431" v="4"/>
        <pc:sldMkLst>
          <pc:docMk/>
          <pc:sldMk cId="1202501075" sldId="826"/>
        </pc:sldMkLst>
        <pc:spChg chg="mod">
          <ac:chgData name="Alba Glass" userId="8756ae06-73e2-48f4-80fe-49e9a0ac70ce" providerId="ADAL" clId="{1BA51652-D521-47CA-ADB6-6C7ED79287E4}" dt="2022-12-12T17:50:02.431" v="4"/>
          <ac:spMkLst>
            <pc:docMk/>
            <pc:sldMk cId="1202501075" sldId="826"/>
            <ac:spMk id="19" creationId="{FF4B61D0-9742-0F27-E0F9-FE81B769D6D7}"/>
          </ac:spMkLst>
        </pc:spChg>
      </pc:sldChg>
      <pc:sldChg chg="add del">
        <pc:chgData name="Alba Glass" userId="8756ae06-73e2-48f4-80fe-49e9a0ac70ce" providerId="ADAL" clId="{1BA51652-D521-47CA-ADB6-6C7ED79287E4}" dt="2022-12-12T17:51:15.509" v="6"/>
        <pc:sldMkLst>
          <pc:docMk/>
          <pc:sldMk cId="1065936619" sldId="827"/>
        </pc:sldMkLst>
      </pc:sldChg>
    </pc:docChg>
  </pc:docChgLst>
  <pc:docChgLst>
    <pc:chgData name="Martina Schusterova" userId="4cb0192c-164c-4814-9810-2966d2a4b1da" providerId="ADAL" clId="{10360155-D14E-4D95-B8B5-95D6CCEBEA55}"/>
    <pc:docChg chg="undo custSel addSld delSld modSld sldOrd">
      <pc:chgData name="Martina Schusterova" userId="4cb0192c-164c-4814-9810-2966d2a4b1da" providerId="ADAL" clId="{10360155-D14E-4D95-B8B5-95D6CCEBEA55}" dt="2022-12-12T14:48:04.147" v="50"/>
      <pc:docMkLst>
        <pc:docMk/>
      </pc:docMkLst>
      <pc:sldChg chg="addSp delSp del mod">
        <pc:chgData name="Martina Schusterova" userId="4cb0192c-164c-4814-9810-2966d2a4b1da" providerId="ADAL" clId="{10360155-D14E-4D95-B8B5-95D6CCEBEA55}" dt="2022-12-12T14:38:47.012" v="38" actId="47"/>
        <pc:sldMkLst>
          <pc:docMk/>
          <pc:sldMk cId="191112422" sldId="257"/>
        </pc:sldMkLst>
        <pc:spChg chg="add del">
          <ac:chgData name="Martina Schusterova" userId="4cb0192c-164c-4814-9810-2966d2a4b1da" providerId="ADAL" clId="{10360155-D14E-4D95-B8B5-95D6CCEBEA55}" dt="2022-12-12T14:34:35.766" v="1" actId="22"/>
          <ac:spMkLst>
            <pc:docMk/>
            <pc:sldMk cId="191112422" sldId="257"/>
            <ac:spMk id="3" creationId="{38BCB82A-8863-6C87-005D-AF460D884771}"/>
          </ac:spMkLst>
        </pc:spChg>
      </pc:sldChg>
      <pc:sldChg chg="del">
        <pc:chgData name="Martina Schusterova" userId="4cb0192c-164c-4814-9810-2966d2a4b1da" providerId="ADAL" clId="{10360155-D14E-4D95-B8B5-95D6CCEBEA55}" dt="2022-12-12T14:46:01.180" v="41" actId="47"/>
        <pc:sldMkLst>
          <pc:docMk/>
          <pc:sldMk cId="2103008358" sldId="258"/>
        </pc:sldMkLst>
      </pc:sldChg>
      <pc:sldChg chg="del">
        <pc:chgData name="Martina Schusterova" userId="4cb0192c-164c-4814-9810-2966d2a4b1da" providerId="ADAL" clId="{10360155-D14E-4D95-B8B5-95D6CCEBEA55}" dt="2022-12-12T14:46:20.750" v="44" actId="47"/>
        <pc:sldMkLst>
          <pc:docMk/>
          <pc:sldMk cId="3719544553" sldId="261"/>
        </pc:sldMkLst>
      </pc:sldChg>
      <pc:sldChg chg="del">
        <pc:chgData name="Martina Schusterova" userId="4cb0192c-164c-4814-9810-2966d2a4b1da" providerId="ADAL" clId="{10360155-D14E-4D95-B8B5-95D6CCEBEA55}" dt="2022-12-12T14:46:19.065" v="43" actId="47"/>
        <pc:sldMkLst>
          <pc:docMk/>
          <pc:sldMk cId="3127473570" sldId="262"/>
        </pc:sldMkLst>
      </pc:sldChg>
      <pc:sldChg chg="del">
        <pc:chgData name="Martina Schusterova" userId="4cb0192c-164c-4814-9810-2966d2a4b1da" providerId="ADAL" clId="{10360155-D14E-4D95-B8B5-95D6CCEBEA55}" dt="2022-12-12T14:46:03.905" v="42" actId="47"/>
        <pc:sldMkLst>
          <pc:docMk/>
          <pc:sldMk cId="986036514" sldId="264"/>
        </pc:sldMkLst>
      </pc:sldChg>
      <pc:sldChg chg="del">
        <pc:chgData name="Martina Schusterova" userId="4cb0192c-164c-4814-9810-2966d2a4b1da" providerId="ADAL" clId="{10360155-D14E-4D95-B8B5-95D6CCEBEA55}" dt="2022-12-12T14:46:21.697" v="45" actId="47"/>
        <pc:sldMkLst>
          <pc:docMk/>
          <pc:sldMk cId="309405773" sldId="265"/>
        </pc:sldMkLst>
      </pc:sldChg>
      <pc:sldChg chg="del">
        <pc:chgData name="Martina Schusterova" userId="4cb0192c-164c-4814-9810-2966d2a4b1da" providerId="ADAL" clId="{10360155-D14E-4D95-B8B5-95D6CCEBEA55}" dt="2022-12-12T14:46:22.577" v="46" actId="47"/>
        <pc:sldMkLst>
          <pc:docMk/>
          <pc:sldMk cId="2370914944" sldId="268"/>
        </pc:sldMkLst>
      </pc:sldChg>
      <pc:sldChg chg="delCm">
        <pc:chgData name="Martina Schusterova" userId="4cb0192c-164c-4814-9810-2966d2a4b1da" providerId="ADAL" clId="{10360155-D14E-4D95-B8B5-95D6CCEBEA55}" dt="2022-12-12T14:48:04.147" v="50"/>
        <pc:sldMkLst>
          <pc:docMk/>
          <pc:sldMk cId="3602306208" sldId="418"/>
        </pc:sldMkLst>
      </pc:sldChg>
      <pc:sldChg chg="delCm">
        <pc:chgData name="Martina Schusterova" userId="4cb0192c-164c-4814-9810-2966d2a4b1da" providerId="ADAL" clId="{10360155-D14E-4D95-B8B5-95D6CCEBEA55}" dt="2022-12-12T14:47:08.726" v="47"/>
        <pc:sldMkLst>
          <pc:docMk/>
          <pc:sldMk cId="2593518496" sldId="424"/>
        </pc:sldMkLst>
      </pc:sldChg>
      <pc:sldChg chg="del">
        <pc:chgData name="Martina Schusterova" userId="4cb0192c-164c-4814-9810-2966d2a4b1da" providerId="ADAL" clId="{10360155-D14E-4D95-B8B5-95D6CCEBEA55}" dt="2022-12-12T14:35:25.781" v="2" actId="47"/>
        <pc:sldMkLst>
          <pc:docMk/>
          <pc:sldMk cId="1353985492" sldId="812"/>
        </pc:sldMkLst>
      </pc:sldChg>
      <pc:sldChg chg="modSp mod">
        <pc:chgData name="Martina Schusterova" userId="4cb0192c-164c-4814-9810-2966d2a4b1da" providerId="ADAL" clId="{10360155-D14E-4D95-B8B5-95D6CCEBEA55}" dt="2022-12-12T14:38:25.551" v="37" actId="20577"/>
        <pc:sldMkLst>
          <pc:docMk/>
          <pc:sldMk cId="1578152926" sldId="814"/>
        </pc:sldMkLst>
        <pc:spChg chg="mod">
          <ac:chgData name="Martina Schusterova" userId="4cb0192c-164c-4814-9810-2966d2a4b1da" providerId="ADAL" clId="{10360155-D14E-4D95-B8B5-95D6CCEBEA55}" dt="2022-12-12T14:38:25.551" v="37" actId="20577"/>
          <ac:spMkLst>
            <pc:docMk/>
            <pc:sldMk cId="1578152926" sldId="814"/>
            <ac:spMk id="8" creationId="{693CF914-4C27-50C9-793F-73EFDBDED1C2}"/>
          </ac:spMkLst>
        </pc:spChg>
      </pc:sldChg>
      <pc:sldChg chg="modSp add del mod">
        <pc:chgData name="Martina Schusterova" userId="4cb0192c-164c-4814-9810-2966d2a4b1da" providerId="ADAL" clId="{10360155-D14E-4D95-B8B5-95D6CCEBEA55}" dt="2022-12-12T14:35:49.851" v="6"/>
        <pc:sldMkLst>
          <pc:docMk/>
          <pc:sldMk cId="2892003995" sldId="814"/>
        </pc:sldMkLst>
        <pc:spChg chg="mod">
          <ac:chgData name="Martina Schusterova" userId="4cb0192c-164c-4814-9810-2966d2a4b1da" providerId="ADAL" clId="{10360155-D14E-4D95-B8B5-95D6CCEBEA55}" dt="2022-12-12T14:35:49.851" v="6"/>
          <ac:spMkLst>
            <pc:docMk/>
            <pc:sldMk cId="2892003995" sldId="814"/>
            <ac:spMk id="28" creationId="{86FAEDBE-A2EC-A957-4FA8-E5358331F5E4}"/>
          </ac:spMkLst>
        </pc:spChg>
      </pc:sldChg>
      <pc:sldChg chg="ord">
        <pc:chgData name="Martina Schusterova" userId="4cb0192c-164c-4814-9810-2966d2a4b1da" providerId="ADAL" clId="{10360155-D14E-4D95-B8B5-95D6CCEBEA55}" dt="2022-12-12T14:38:54.744" v="40"/>
        <pc:sldMkLst>
          <pc:docMk/>
          <pc:sldMk cId="1796017861" sldId="815"/>
        </pc:sldMkLst>
      </pc:sldChg>
      <pc:sldMasterChg chg="delSldLayout">
        <pc:chgData name="Martina Schusterova" userId="4cb0192c-164c-4814-9810-2966d2a4b1da" providerId="ADAL" clId="{10360155-D14E-4D95-B8B5-95D6CCEBEA55}" dt="2022-12-12T14:46:22.577" v="46" actId="47"/>
        <pc:sldMasterMkLst>
          <pc:docMk/>
          <pc:sldMasterMk cId="3966026126" sldId="2147483878"/>
        </pc:sldMasterMkLst>
        <pc:sldLayoutChg chg="del">
          <pc:chgData name="Martina Schusterova" userId="4cb0192c-164c-4814-9810-2966d2a4b1da" providerId="ADAL" clId="{10360155-D14E-4D95-B8B5-95D6CCEBEA55}" dt="2022-12-12T14:46:20.750" v="44" actId="47"/>
          <pc:sldLayoutMkLst>
            <pc:docMk/>
            <pc:sldMasterMk cId="3966026126" sldId="2147483878"/>
            <pc:sldLayoutMk cId="1311181049" sldId="2147483730"/>
          </pc:sldLayoutMkLst>
        </pc:sldLayoutChg>
        <pc:sldLayoutChg chg="del">
          <pc:chgData name="Martina Schusterova" userId="4cb0192c-164c-4814-9810-2966d2a4b1da" providerId="ADAL" clId="{10360155-D14E-4D95-B8B5-95D6CCEBEA55}" dt="2022-12-12T14:46:03.905" v="42" actId="47"/>
          <pc:sldLayoutMkLst>
            <pc:docMk/>
            <pc:sldMasterMk cId="3966026126" sldId="2147483878"/>
            <pc:sldLayoutMk cId="3896522830" sldId="2147483892"/>
          </pc:sldLayoutMkLst>
        </pc:sldLayoutChg>
        <pc:sldLayoutChg chg="del">
          <pc:chgData name="Martina Schusterova" userId="4cb0192c-164c-4814-9810-2966d2a4b1da" providerId="ADAL" clId="{10360155-D14E-4D95-B8B5-95D6CCEBEA55}" dt="2022-12-12T14:46:19.065" v="43" actId="47"/>
          <pc:sldLayoutMkLst>
            <pc:docMk/>
            <pc:sldMasterMk cId="3966026126" sldId="2147483878"/>
            <pc:sldLayoutMk cId="613559095" sldId="2147483893"/>
          </pc:sldLayoutMkLst>
        </pc:sldLayoutChg>
        <pc:sldLayoutChg chg="del">
          <pc:chgData name="Martina Schusterova" userId="4cb0192c-164c-4814-9810-2966d2a4b1da" providerId="ADAL" clId="{10360155-D14E-4D95-B8B5-95D6CCEBEA55}" dt="2022-12-12T14:46:22.577" v="46" actId="47"/>
          <pc:sldLayoutMkLst>
            <pc:docMk/>
            <pc:sldMasterMk cId="3966026126" sldId="2147483878"/>
            <pc:sldLayoutMk cId="2661562292" sldId="2147483894"/>
          </pc:sldLayoutMkLst>
        </pc:sldLayoutChg>
      </pc:sldMasterChg>
    </pc:docChg>
  </pc:docChgLst>
  <pc:docChgLst>
    <pc:chgData name="Alba Glass" userId="8756ae06-73e2-48f4-80fe-49e9a0ac70ce" providerId="ADAL" clId="{53133E9B-1A89-4527-B14D-521FCA331097}"/>
    <pc:docChg chg="undo redo custSel addSld delSld modSld sldOrd delMainMaster modMainMaster">
      <pc:chgData name="Alba Glass" userId="8756ae06-73e2-48f4-80fe-49e9a0ac70ce" providerId="ADAL" clId="{53133E9B-1A89-4527-B14D-521FCA331097}" dt="2022-12-12T16:24:22.707" v="225" actId="113"/>
      <pc:docMkLst>
        <pc:docMk/>
      </pc:docMkLst>
      <pc:sldChg chg="addSp delSp modSp mod">
        <pc:chgData name="Alba Glass" userId="8756ae06-73e2-48f4-80fe-49e9a0ac70ce" providerId="ADAL" clId="{53133E9B-1A89-4527-B14D-521FCA331097}" dt="2022-12-12T16:10:40.374" v="157" actId="1076"/>
        <pc:sldMkLst>
          <pc:docMk/>
          <pc:sldMk cId="3153132616" sldId="256"/>
        </pc:sldMkLst>
        <pc:picChg chg="add del mod">
          <ac:chgData name="Alba Glass" userId="8756ae06-73e2-48f4-80fe-49e9a0ac70ce" providerId="ADAL" clId="{53133E9B-1A89-4527-B14D-521FCA331097}" dt="2022-12-12T13:28:00.080" v="5"/>
          <ac:picMkLst>
            <pc:docMk/>
            <pc:sldMk cId="3153132616" sldId="256"/>
            <ac:picMk id="3" creationId="{5844B6DC-7757-81A4-8176-5898B66E144F}"/>
          </ac:picMkLst>
        </pc:picChg>
        <pc:picChg chg="add mod modCrop">
          <ac:chgData name="Alba Glass" userId="8756ae06-73e2-48f4-80fe-49e9a0ac70ce" providerId="ADAL" clId="{53133E9B-1A89-4527-B14D-521FCA331097}" dt="2022-12-12T16:10:40.374" v="157" actId="1076"/>
          <ac:picMkLst>
            <pc:docMk/>
            <pc:sldMk cId="3153132616" sldId="256"/>
            <ac:picMk id="3" creationId="{86065D6D-5B67-4806-8758-B2FF6AC6F38F}"/>
          </ac:picMkLst>
        </pc:picChg>
        <pc:picChg chg="add del mod modCrop">
          <ac:chgData name="Alba Glass" userId="8756ae06-73e2-48f4-80fe-49e9a0ac70ce" providerId="ADAL" clId="{53133E9B-1A89-4527-B14D-521FCA331097}" dt="2022-12-12T13:28:41.025" v="15" actId="478"/>
          <ac:picMkLst>
            <pc:docMk/>
            <pc:sldMk cId="3153132616" sldId="256"/>
            <ac:picMk id="5" creationId="{DD28240A-2D94-D710-6296-0425B42F44AE}"/>
          </ac:picMkLst>
        </pc:picChg>
      </pc:sldChg>
      <pc:sldChg chg="add del">
        <pc:chgData name="Alba Glass" userId="8756ae06-73e2-48f4-80fe-49e9a0ac70ce" providerId="ADAL" clId="{53133E9B-1A89-4527-B14D-521FCA331097}" dt="2022-12-12T14:23:15.782" v="92"/>
        <pc:sldMkLst>
          <pc:docMk/>
          <pc:sldMk cId="0" sldId="259"/>
        </pc:sldMkLst>
      </pc:sldChg>
      <pc:sldChg chg="modSp mod">
        <pc:chgData name="Alba Glass" userId="8756ae06-73e2-48f4-80fe-49e9a0ac70ce" providerId="ADAL" clId="{53133E9B-1A89-4527-B14D-521FCA331097}" dt="2022-12-12T16:13:13.334" v="171"/>
        <pc:sldMkLst>
          <pc:docMk/>
          <pc:sldMk cId="3290542844" sldId="263"/>
        </pc:sldMkLst>
        <pc:spChg chg="mod">
          <ac:chgData name="Alba Glass" userId="8756ae06-73e2-48f4-80fe-49e9a0ac70ce" providerId="ADAL" clId="{53133E9B-1A89-4527-B14D-521FCA331097}" dt="2022-12-12T16:13:13.334" v="171"/>
          <ac:spMkLst>
            <pc:docMk/>
            <pc:sldMk cId="3290542844" sldId="263"/>
            <ac:spMk id="7" creationId="{1D49A82E-FB2C-B993-0FBB-9E20253BFF96}"/>
          </ac:spMkLst>
        </pc:spChg>
      </pc:sldChg>
      <pc:sldChg chg="addSp modSp mod">
        <pc:chgData name="Alba Glass" userId="8756ae06-73e2-48f4-80fe-49e9a0ac70ce" providerId="ADAL" clId="{53133E9B-1A89-4527-B14D-521FCA331097}" dt="2022-12-12T16:07:53.084" v="149" actId="1076"/>
        <pc:sldMkLst>
          <pc:docMk/>
          <pc:sldMk cId="3375986281" sldId="266"/>
        </pc:sldMkLst>
        <pc:spChg chg="mod">
          <ac:chgData name="Alba Glass" userId="8756ae06-73e2-48f4-80fe-49e9a0ac70ce" providerId="ADAL" clId="{53133E9B-1A89-4527-B14D-521FCA331097}" dt="2022-12-12T16:07:53.084" v="149" actId="1076"/>
          <ac:spMkLst>
            <pc:docMk/>
            <pc:sldMk cId="3375986281" sldId="266"/>
            <ac:spMk id="2" creationId="{9A611B85-74DA-6362-4E48-DF3867344696}"/>
          </ac:spMkLst>
        </pc:spChg>
        <pc:spChg chg="add mod">
          <ac:chgData name="Alba Glass" userId="8756ae06-73e2-48f4-80fe-49e9a0ac70ce" providerId="ADAL" clId="{53133E9B-1A89-4527-B14D-521FCA331097}" dt="2022-12-12T16:06:45.938" v="141" actId="571"/>
          <ac:spMkLst>
            <pc:docMk/>
            <pc:sldMk cId="3375986281" sldId="266"/>
            <ac:spMk id="4" creationId="{0FBBAD25-38F4-ED39-0B9E-36D57F7EF884}"/>
          </ac:spMkLst>
        </pc:spChg>
        <pc:picChg chg="mod">
          <ac:chgData name="Alba Glass" userId="8756ae06-73e2-48f4-80fe-49e9a0ac70ce" providerId="ADAL" clId="{53133E9B-1A89-4527-B14D-521FCA331097}" dt="2022-12-12T16:07:49.843" v="148" actId="1076"/>
          <ac:picMkLst>
            <pc:docMk/>
            <pc:sldMk cId="3375986281" sldId="266"/>
            <ac:picMk id="3" creationId="{A875F0C8-1C8C-5295-36D5-E9CDBCAEEDDC}"/>
          </ac:picMkLst>
        </pc:picChg>
      </pc:sldChg>
      <pc:sldChg chg="addSp delSp modSp mod">
        <pc:chgData name="Alba Glass" userId="8756ae06-73e2-48f4-80fe-49e9a0ac70ce" providerId="ADAL" clId="{53133E9B-1A89-4527-B14D-521FCA331097}" dt="2022-12-12T16:19:43.038" v="211" actId="14100"/>
        <pc:sldMkLst>
          <pc:docMk/>
          <pc:sldMk cId="3934005753" sldId="267"/>
        </pc:sldMkLst>
        <pc:spChg chg="add del">
          <ac:chgData name="Alba Glass" userId="8756ae06-73e2-48f4-80fe-49e9a0ac70ce" providerId="ADAL" clId="{53133E9B-1A89-4527-B14D-521FCA331097}" dt="2022-12-12T16:18:12.588" v="190" actId="22"/>
          <ac:spMkLst>
            <pc:docMk/>
            <pc:sldMk cId="3934005753" sldId="267"/>
            <ac:spMk id="3" creationId="{63893622-B34E-2006-ACD3-A21DE939A33F}"/>
          </ac:spMkLst>
        </pc:spChg>
        <pc:spChg chg="add mod">
          <ac:chgData name="Alba Glass" userId="8756ae06-73e2-48f4-80fe-49e9a0ac70ce" providerId="ADAL" clId="{53133E9B-1A89-4527-B14D-521FCA331097}" dt="2022-12-12T16:19:43.038" v="211" actId="14100"/>
          <ac:spMkLst>
            <pc:docMk/>
            <pc:sldMk cId="3934005753" sldId="267"/>
            <ac:spMk id="4" creationId="{F5FEDB2A-3DA5-F22A-A59A-618A0A11ED8D}"/>
          </ac:spMkLst>
        </pc:spChg>
        <pc:spChg chg="mod">
          <ac:chgData name="Alba Glass" userId="8756ae06-73e2-48f4-80fe-49e9a0ac70ce" providerId="ADAL" clId="{53133E9B-1A89-4527-B14D-521FCA331097}" dt="2022-12-12T16:19:14.977" v="206" actId="6549"/>
          <ac:spMkLst>
            <pc:docMk/>
            <pc:sldMk cId="3934005753" sldId="267"/>
            <ac:spMk id="19" creationId="{FF4B61D0-9742-0F27-E0F9-FE81B769D6D7}"/>
          </ac:spMkLst>
        </pc:spChg>
        <pc:spChg chg="mod">
          <ac:chgData name="Alba Glass" userId="8756ae06-73e2-48f4-80fe-49e9a0ac70ce" providerId="ADAL" clId="{53133E9B-1A89-4527-B14D-521FCA331097}" dt="2022-12-12T14:02:23.969" v="69" actId="1076"/>
          <ac:spMkLst>
            <pc:docMk/>
            <pc:sldMk cId="3934005753" sldId="267"/>
            <ac:spMk id="28" creationId="{86FAEDBE-A2EC-A957-4FA8-E5358331F5E4}"/>
          </ac:spMkLst>
        </pc:spChg>
        <pc:spChg chg="mod">
          <ac:chgData name="Alba Glass" userId="8756ae06-73e2-48f4-80fe-49e9a0ac70ce" providerId="ADAL" clId="{53133E9B-1A89-4527-B14D-521FCA331097}" dt="2022-12-12T14:02:23.969" v="69" actId="1076"/>
          <ac:spMkLst>
            <pc:docMk/>
            <pc:sldMk cId="3934005753" sldId="267"/>
            <ac:spMk id="30" creationId="{FF3BCEE4-2A5B-76C0-B40D-28B345935E0B}"/>
          </ac:spMkLst>
        </pc:spChg>
      </pc:sldChg>
      <pc:sldChg chg="del ord">
        <pc:chgData name="Alba Glass" userId="8756ae06-73e2-48f4-80fe-49e9a0ac70ce" providerId="ADAL" clId="{53133E9B-1A89-4527-B14D-521FCA331097}" dt="2022-12-12T14:28:58.939" v="95" actId="47"/>
        <pc:sldMkLst>
          <pc:docMk/>
          <pc:sldMk cId="2823032614" sldId="291"/>
        </pc:sldMkLst>
      </pc:sldChg>
      <pc:sldChg chg="del">
        <pc:chgData name="Alba Glass" userId="8756ae06-73e2-48f4-80fe-49e9a0ac70ce" providerId="ADAL" clId="{53133E9B-1A89-4527-B14D-521FCA331097}" dt="2022-12-12T13:56:21.139" v="17" actId="2696"/>
        <pc:sldMkLst>
          <pc:docMk/>
          <pc:sldMk cId="3192954264" sldId="292"/>
        </pc:sldMkLst>
      </pc:sldChg>
      <pc:sldChg chg="del">
        <pc:chgData name="Alba Glass" userId="8756ae06-73e2-48f4-80fe-49e9a0ac70ce" providerId="ADAL" clId="{53133E9B-1A89-4527-B14D-521FCA331097}" dt="2022-12-12T13:56:21.139" v="17" actId="2696"/>
        <pc:sldMkLst>
          <pc:docMk/>
          <pc:sldMk cId="390365207" sldId="305"/>
        </pc:sldMkLst>
      </pc:sldChg>
      <pc:sldChg chg="del">
        <pc:chgData name="Alba Glass" userId="8756ae06-73e2-48f4-80fe-49e9a0ac70ce" providerId="ADAL" clId="{53133E9B-1A89-4527-B14D-521FCA331097}" dt="2022-12-12T13:56:21.139" v="17" actId="2696"/>
        <pc:sldMkLst>
          <pc:docMk/>
          <pc:sldMk cId="1192318132" sldId="347"/>
        </pc:sldMkLst>
      </pc:sldChg>
      <pc:sldChg chg="del">
        <pc:chgData name="Alba Glass" userId="8756ae06-73e2-48f4-80fe-49e9a0ac70ce" providerId="ADAL" clId="{53133E9B-1A89-4527-B14D-521FCA331097}" dt="2022-12-12T13:56:21.139" v="17" actId="2696"/>
        <pc:sldMkLst>
          <pc:docMk/>
          <pc:sldMk cId="229484441" sldId="378"/>
        </pc:sldMkLst>
      </pc:sldChg>
      <pc:sldChg chg="del">
        <pc:chgData name="Alba Glass" userId="8756ae06-73e2-48f4-80fe-49e9a0ac70ce" providerId="ADAL" clId="{53133E9B-1A89-4527-B14D-521FCA331097}" dt="2022-12-12T13:56:21.139" v="17" actId="2696"/>
        <pc:sldMkLst>
          <pc:docMk/>
          <pc:sldMk cId="1110610907" sldId="389"/>
        </pc:sldMkLst>
      </pc:sldChg>
      <pc:sldChg chg="del">
        <pc:chgData name="Alba Glass" userId="8756ae06-73e2-48f4-80fe-49e9a0ac70ce" providerId="ADAL" clId="{53133E9B-1A89-4527-B14D-521FCA331097}" dt="2022-12-12T13:56:21.139" v="17" actId="2696"/>
        <pc:sldMkLst>
          <pc:docMk/>
          <pc:sldMk cId="1638718501" sldId="419"/>
        </pc:sldMkLst>
      </pc:sldChg>
      <pc:sldChg chg="del">
        <pc:chgData name="Alba Glass" userId="8756ae06-73e2-48f4-80fe-49e9a0ac70ce" providerId="ADAL" clId="{53133E9B-1A89-4527-B14D-521FCA331097}" dt="2022-12-12T13:56:21.139" v="17" actId="2696"/>
        <pc:sldMkLst>
          <pc:docMk/>
          <pc:sldMk cId="3634736605" sldId="422"/>
        </pc:sldMkLst>
      </pc:sldChg>
      <pc:sldChg chg="del">
        <pc:chgData name="Alba Glass" userId="8756ae06-73e2-48f4-80fe-49e9a0ac70ce" providerId="ADAL" clId="{53133E9B-1A89-4527-B14D-521FCA331097}" dt="2022-12-12T13:56:21.139" v="17" actId="2696"/>
        <pc:sldMkLst>
          <pc:docMk/>
          <pc:sldMk cId="3114228824" sldId="423"/>
        </pc:sldMkLst>
      </pc:sldChg>
      <pc:sldChg chg="del">
        <pc:chgData name="Alba Glass" userId="8756ae06-73e2-48f4-80fe-49e9a0ac70ce" providerId="ADAL" clId="{53133E9B-1A89-4527-B14D-521FCA331097}" dt="2022-12-12T14:28:58.939" v="95" actId="47"/>
        <pc:sldMkLst>
          <pc:docMk/>
          <pc:sldMk cId="0" sldId="426"/>
        </pc:sldMkLst>
      </pc:sldChg>
      <pc:sldChg chg="delSp modSp mod">
        <pc:chgData name="Alba Glass" userId="8756ae06-73e2-48f4-80fe-49e9a0ac70ce" providerId="ADAL" clId="{53133E9B-1A89-4527-B14D-521FCA331097}" dt="2022-12-12T16:13:57.823" v="172" actId="478"/>
        <pc:sldMkLst>
          <pc:docMk/>
          <pc:sldMk cId="2632071968" sldId="803"/>
        </pc:sldMkLst>
        <pc:spChg chg="del">
          <ac:chgData name="Alba Glass" userId="8756ae06-73e2-48f4-80fe-49e9a0ac70ce" providerId="ADAL" clId="{53133E9B-1A89-4527-B14D-521FCA331097}" dt="2022-12-12T16:13:57.823" v="172" actId="478"/>
          <ac:spMkLst>
            <pc:docMk/>
            <pc:sldMk cId="2632071968" sldId="803"/>
            <ac:spMk id="3" creationId="{00000000-0000-0000-0000-000000000000}"/>
          </ac:spMkLst>
        </pc:spChg>
        <pc:spChg chg="mod">
          <ac:chgData name="Alba Glass" userId="8756ae06-73e2-48f4-80fe-49e9a0ac70ce" providerId="ADAL" clId="{53133E9B-1A89-4527-B14D-521FCA331097}" dt="2022-12-12T13:56:05.135" v="16" actId="27636"/>
          <ac:spMkLst>
            <pc:docMk/>
            <pc:sldMk cId="2632071968" sldId="803"/>
            <ac:spMk id="5" creationId="{00000000-0000-0000-0000-000000000000}"/>
          </ac:spMkLst>
        </pc:spChg>
      </pc:sldChg>
      <pc:sldChg chg="delSp mod">
        <pc:chgData name="Alba Glass" userId="8756ae06-73e2-48f4-80fe-49e9a0ac70ce" providerId="ADAL" clId="{53133E9B-1A89-4527-B14D-521FCA331097}" dt="2022-12-12T16:14:08.036" v="173" actId="478"/>
        <pc:sldMkLst>
          <pc:docMk/>
          <pc:sldMk cId="976915710" sldId="804"/>
        </pc:sldMkLst>
        <pc:spChg chg="del">
          <ac:chgData name="Alba Glass" userId="8756ae06-73e2-48f4-80fe-49e9a0ac70ce" providerId="ADAL" clId="{53133E9B-1A89-4527-B14D-521FCA331097}" dt="2022-12-12T16:14:08.036" v="173" actId="478"/>
          <ac:spMkLst>
            <pc:docMk/>
            <pc:sldMk cId="976915710" sldId="804"/>
            <ac:spMk id="4" creationId="{00000000-0000-0000-0000-000000000000}"/>
          </ac:spMkLst>
        </pc:spChg>
      </pc:sldChg>
      <pc:sldChg chg="delSp mod">
        <pc:chgData name="Alba Glass" userId="8756ae06-73e2-48f4-80fe-49e9a0ac70ce" providerId="ADAL" clId="{53133E9B-1A89-4527-B14D-521FCA331097}" dt="2022-12-12T16:14:12.416" v="174" actId="478"/>
        <pc:sldMkLst>
          <pc:docMk/>
          <pc:sldMk cId="3696721192" sldId="805"/>
        </pc:sldMkLst>
        <pc:spChg chg="del">
          <ac:chgData name="Alba Glass" userId="8756ae06-73e2-48f4-80fe-49e9a0ac70ce" providerId="ADAL" clId="{53133E9B-1A89-4527-B14D-521FCA331097}" dt="2022-12-12T16:14:12.416" v="174" actId="478"/>
          <ac:spMkLst>
            <pc:docMk/>
            <pc:sldMk cId="3696721192" sldId="805"/>
            <ac:spMk id="4" creationId="{00000000-0000-0000-0000-000000000000}"/>
          </ac:spMkLst>
        </pc:spChg>
      </pc:sldChg>
      <pc:sldChg chg="delSp mod">
        <pc:chgData name="Alba Glass" userId="8756ae06-73e2-48f4-80fe-49e9a0ac70ce" providerId="ADAL" clId="{53133E9B-1A89-4527-B14D-521FCA331097}" dt="2022-12-12T16:14:18.531" v="175" actId="478"/>
        <pc:sldMkLst>
          <pc:docMk/>
          <pc:sldMk cId="1972387129" sldId="807"/>
        </pc:sldMkLst>
        <pc:spChg chg="del">
          <ac:chgData name="Alba Glass" userId="8756ae06-73e2-48f4-80fe-49e9a0ac70ce" providerId="ADAL" clId="{53133E9B-1A89-4527-B14D-521FCA331097}" dt="2022-12-12T16:14:18.531" v="175" actId="478"/>
          <ac:spMkLst>
            <pc:docMk/>
            <pc:sldMk cId="1972387129" sldId="807"/>
            <ac:spMk id="4" creationId="{00000000-0000-0000-0000-000000000000}"/>
          </ac:spMkLst>
        </pc:spChg>
      </pc:sldChg>
      <pc:sldChg chg="delSp mod">
        <pc:chgData name="Alba Glass" userId="8756ae06-73e2-48f4-80fe-49e9a0ac70ce" providerId="ADAL" clId="{53133E9B-1A89-4527-B14D-521FCA331097}" dt="2022-12-12T16:14:21.202" v="176" actId="478"/>
        <pc:sldMkLst>
          <pc:docMk/>
          <pc:sldMk cId="246435277" sldId="808"/>
        </pc:sldMkLst>
        <pc:spChg chg="del">
          <ac:chgData name="Alba Glass" userId="8756ae06-73e2-48f4-80fe-49e9a0ac70ce" providerId="ADAL" clId="{53133E9B-1A89-4527-B14D-521FCA331097}" dt="2022-12-12T16:14:21.202" v="176" actId="478"/>
          <ac:spMkLst>
            <pc:docMk/>
            <pc:sldMk cId="246435277" sldId="808"/>
            <ac:spMk id="4" creationId="{00000000-0000-0000-0000-000000000000}"/>
          </ac:spMkLst>
        </pc:spChg>
      </pc:sldChg>
      <pc:sldChg chg="delSp mod">
        <pc:chgData name="Alba Glass" userId="8756ae06-73e2-48f4-80fe-49e9a0ac70ce" providerId="ADAL" clId="{53133E9B-1A89-4527-B14D-521FCA331097}" dt="2022-12-12T16:14:24.227" v="177" actId="478"/>
        <pc:sldMkLst>
          <pc:docMk/>
          <pc:sldMk cId="631078423" sldId="809"/>
        </pc:sldMkLst>
        <pc:spChg chg="del">
          <ac:chgData name="Alba Glass" userId="8756ae06-73e2-48f4-80fe-49e9a0ac70ce" providerId="ADAL" clId="{53133E9B-1A89-4527-B14D-521FCA331097}" dt="2022-12-12T16:14:24.227" v="177" actId="478"/>
          <ac:spMkLst>
            <pc:docMk/>
            <pc:sldMk cId="631078423" sldId="809"/>
            <ac:spMk id="4" creationId="{428B1F5D-873F-6745-894D-73A791B129DB}"/>
          </ac:spMkLst>
        </pc:spChg>
      </pc:sldChg>
      <pc:sldChg chg="add del">
        <pc:chgData name="Alba Glass" userId="8756ae06-73e2-48f4-80fe-49e9a0ac70ce" providerId="ADAL" clId="{53133E9B-1A89-4527-B14D-521FCA331097}" dt="2022-12-12T14:28:50.096" v="94"/>
        <pc:sldMkLst>
          <pc:docMk/>
          <pc:sldMk cId="0" sldId="810"/>
        </pc:sldMkLst>
      </pc:sldChg>
      <pc:sldChg chg="add del">
        <pc:chgData name="Alba Glass" userId="8756ae06-73e2-48f4-80fe-49e9a0ac70ce" providerId="ADAL" clId="{53133E9B-1A89-4527-B14D-521FCA331097}" dt="2022-12-12T14:28:50.096" v="94"/>
        <pc:sldMkLst>
          <pc:docMk/>
          <pc:sldMk cId="51283631" sldId="811"/>
        </pc:sldMkLst>
      </pc:sldChg>
      <pc:sldChg chg="add del">
        <pc:chgData name="Alba Glass" userId="8756ae06-73e2-48f4-80fe-49e9a0ac70ce" providerId="ADAL" clId="{53133E9B-1A89-4527-B14D-521FCA331097}" dt="2022-12-12T14:23:15.782" v="92"/>
        <pc:sldMkLst>
          <pc:docMk/>
          <pc:sldMk cId="2454019217" sldId="811"/>
        </pc:sldMkLst>
      </pc:sldChg>
      <pc:sldChg chg="add del setBg">
        <pc:chgData name="Alba Glass" userId="8756ae06-73e2-48f4-80fe-49e9a0ac70ce" providerId="ADAL" clId="{53133E9B-1A89-4527-B14D-521FCA331097}" dt="2022-12-12T14:28:50.096" v="94"/>
        <pc:sldMkLst>
          <pc:docMk/>
          <pc:sldMk cId="1353985492" sldId="812"/>
        </pc:sldMkLst>
      </pc:sldChg>
      <pc:sldChg chg="del">
        <pc:chgData name="Alba Glass" userId="8756ae06-73e2-48f4-80fe-49e9a0ac70ce" providerId="ADAL" clId="{53133E9B-1A89-4527-B14D-521FCA331097}" dt="2022-12-12T16:14:49.615" v="179" actId="47"/>
        <pc:sldMkLst>
          <pc:docMk/>
          <pc:sldMk cId="1578152926" sldId="814"/>
        </pc:sldMkLst>
      </pc:sldChg>
      <pc:sldChg chg="modSp mod">
        <pc:chgData name="Alba Glass" userId="8756ae06-73e2-48f4-80fe-49e9a0ac70ce" providerId="ADAL" clId="{53133E9B-1A89-4527-B14D-521FCA331097}" dt="2022-12-12T16:11:31.863" v="162" actId="1076"/>
        <pc:sldMkLst>
          <pc:docMk/>
          <pc:sldMk cId="1796017861" sldId="815"/>
        </pc:sldMkLst>
        <pc:spChg chg="mod">
          <ac:chgData name="Alba Glass" userId="8756ae06-73e2-48f4-80fe-49e9a0ac70ce" providerId="ADAL" clId="{53133E9B-1A89-4527-B14D-521FCA331097}" dt="2022-12-12T16:11:31.863" v="162" actId="1076"/>
          <ac:spMkLst>
            <pc:docMk/>
            <pc:sldMk cId="1796017861" sldId="815"/>
            <ac:spMk id="4" creationId="{21A26CFC-E60C-BD97-07DB-8175068F2EA7}"/>
          </ac:spMkLst>
        </pc:spChg>
        <pc:spChg chg="mod">
          <ac:chgData name="Alba Glass" userId="8756ae06-73e2-48f4-80fe-49e9a0ac70ce" providerId="ADAL" clId="{53133E9B-1A89-4527-B14D-521FCA331097}" dt="2022-12-12T16:11:31.863" v="162" actId="1076"/>
          <ac:spMkLst>
            <pc:docMk/>
            <pc:sldMk cId="1796017861" sldId="815"/>
            <ac:spMk id="8" creationId="{693CF914-4C27-50C9-793F-73EFDBDED1C2}"/>
          </ac:spMkLst>
        </pc:spChg>
        <pc:spChg chg="mod">
          <ac:chgData name="Alba Glass" userId="8756ae06-73e2-48f4-80fe-49e9a0ac70ce" providerId="ADAL" clId="{53133E9B-1A89-4527-B14D-521FCA331097}" dt="2022-12-12T16:11:31.863" v="162" actId="1076"/>
          <ac:spMkLst>
            <pc:docMk/>
            <pc:sldMk cId="1796017861" sldId="815"/>
            <ac:spMk id="10" creationId="{FA9ABF44-0825-A2D4-FE42-48FAFF936AD3}"/>
          </ac:spMkLst>
        </pc:spChg>
        <pc:spChg chg="mod">
          <ac:chgData name="Alba Glass" userId="8756ae06-73e2-48f4-80fe-49e9a0ac70ce" providerId="ADAL" clId="{53133E9B-1A89-4527-B14D-521FCA331097}" dt="2022-12-12T16:11:31.863" v="162" actId="1076"/>
          <ac:spMkLst>
            <pc:docMk/>
            <pc:sldMk cId="1796017861" sldId="815"/>
            <ac:spMk id="11" creationId="{DD921C2B-3964-84D0-E452-CD635EEB5248}"/>
          </ac:spMkLst>
        </pc:spChg>
        <pc:spChg chg="mod">
          <ac:chgData name="Alba Glass" userId="8756ae06-73e2-48f4-80fe-49e9a0ac70ce" providerId="ADAL" clId="{53133E9B-1A89-4527-B14D-521FCA331097}" dt="2022-12-12T16:11:09.289" v="158" actId="255"/>
          <ac:spMkLst>
            <pc:docMk/>
            <pc:sldMk cId="1796017861" sldId="815"/>
            <ac:spMk id="19" creationId="{FF4B61D0-9742-0F27-E0F9-FE81B769D6D7}"/>
          </ac:spMkLst>
        </pc:spChg>
      </pc:sldChg>
      <pc:sldChg chg="del">
        <pc:chgData name="Alba Glass" userId="8756ae06-73e2-48f4-80fe-49e9a0ac70ce" providerId="ADAL" clId="{53133E9B-1A89-4527-B14D-521FCA331097}" dt="2022-12-12T16:23:56.385" v="222" actId="47"/>
        <pc:sldMkLst>
          <pc:docMk/>
          <pc:sldMk cId="518560370" sldId="816"/>
        </pc:sldMkLst>
      </pc:sldChg>
      <pc:sldChg chg="del">
        <pc:chgData name="Alba Glass" userId="8756ae06-73e2-48f4-80fe-49e9a0ac70ce" providerId="ADAL" clId="{53133E9B-1A89-4527-B14D-521FCA331097}" dt="2022-12-12T16:24:05.879" v="223" actId="47"/>
        <pc:sldMkLst>
          <pc:docMk/>
          <pc:sldMk cId="1881705576" sldId="817"/>
        </pc:sldMkLst>
      </pc:sldChg>
      <pc:sldChg chg="modSp mod">
        <pc:chgData name="Alba Glass" userId="8756ae06-73e2-48f4-80fe-49e9a0ac70ce" providerId="ADAL" clId="{53133E9B-1A89-4527-B14D-521FCA331097}" dt="2022-12-12T16:23:18.765" v="217" actId="14100"/>
        <pc:sldMkLst>
          <pc:docMk/>
          <pc:sldMk cId="833570864" sldId="818"/>
        </pc:sldMkLst>
        <pc:spChg chg="mod">
          <ac:chgData name="Alba Glass" userId="8756ae06-73e2-48f4-80fe-49e9a0ac70ce" providerId="ADAL" clId="{53133E9B-1A89-4527-B14D-521FCA331097}" dt="2022-12-12T16:23:18.765" v="217" actId="14100"/>
          <ac:spMkLst>
            <pc:docMk/>
            <pc:sldMk cId="833570864" sldId="818"/>
            <ac:spMk id="7" creationId="{1D49A82E-FB2C-B993-0FBB-9E20253BFF96}"/>
          </ac:spMkLst>
        </pc:spChg>
      </pc:sldChg>
      <pc:sldChg chg="modSp mod">
        <pc:chgData name="Alba Glass" userId="8756ae06-73e2-48f4-80fe-49e9a0ac70ce" providerId="ADAL" clId="{53133E9B-1A89-4527-B14D-521FCA331097}" dt="2022-12-12T16:04:52.318" v="98" actId="20577"/>
        <pc:sldMkLst>
          <pc:docMk/>
          <pc:sldMk cId="2333103964" sldId="820"/>
        </pc:sldMkLst>
        <pc:spChg chg="mod">
          <ac:chgData name="Alba Glass" userId="8756ae06-73e2-48f4-80fe-49e9a0ac70ce" providerId="ADAL" clId="{53133E9B-1A89-4527-B14D-521FCA331097}" dt="2022-12-12T16:04:52.318" v="98" actId="20577"/>
          <ac:spMkLst>
            <pc:docMk/>
            <pc:sldMk cId="2333103964" sldId="820"/>
            <ac:spMk id="19" creationId="{FF4B61D0-9742-0F27-E0F9-FE81B769D6D7}"/>
          </ac:spMkLst>
        </pc:spChg>
      </pc:sldChg>
      <pc:sldChg chg="modSp mod">
        <pc:chgData name="Alba Glass" userId="8756ae06-73e2-48f4-80fe-49e9a0ac70ce" providerId="ADAL" clId="{53133E9B-1A89-4527-B14D-521FCA331097}" dt="2022-12-12T16:17:40.691" v="180" actId="1076"/>
        <pc:sldMkLst>
          <pc:docMk/>
          <pc:sldMk cId="2389761233" sldId="822"/>
        </pc:sldMkLst>
        <pc:graphicFrameChg chg="mod">
          <ac:chgData name="Alba Glass" userId="8756ae06-73e2-48f4-80fe-49e9a0ac70ce" providerId="ADAL" clId="{53133E9B-1A89-4527-B14D-521FCA331097}" dt="2022-12-12T16:17:40.691" v="180" actId="1076"/>
          <ac:graphicFrameMkLst>
            <pc:docMk/>
            <pc:sldMk cId="2389761233" sldId="822"/>
            <ac:graphicFrameMk id="4" creationId="{E49B3F6D-1124-0664-BE33-390262D31E4C}"/>
          </ac:graphicFrameMkLst>
        </pc:graphicFrameChg>
      </pc:sldChg>
      <pc:sldChg chg="modSp mod">
        <pc:chgData name="Alba Glass" userId="8756ae06-73e2-48f4-80fe-49e9a0ac70ce" providerId="ADAL" clId="{53133E9B-1A89-4527-B14D-521FCA331097}" dt="2022-12-12T16:23:25.354" v="218" actId="14100"/>
        <pc:sldMkLst>
          <pc:docMk/>
          <pc:sldMk cId="243156262" sldId="823"/>
        </pc:sldMkLst>
        <pc:spChg chg="mod">
          <ac:chgData name="Alba Glass" userId="8756ae06-73e2-48f4-80fe-49e9a0ac70ce" providerId="ADAL" clId="{53133E9B-1A89-4527-B14D-521FCA331097}" dt="2022-12-12T16:23:25.354" v="218" actId="14100"/>
          <ac:spMkLst>
            <pc:docMk/>
            <pc:sldMk cId="243156262" sldId="823"/>
            <ac:spMk id="19" creationId="{FF4B61D0-9742-0F27-E0F9-FE81B769D6D7}"/>
          </ac:spMkLst>
        </pc:spChg>
      </pc:sldChg>
      <pc:sldChg chg="add">
        <pc:chgData name="Alba Glass" userId="8756ae06-73e2-48f4-80fe-49e9a0ac70ce" providerId="ADAL" clId="{53133E9B-1A89-4527-B14D-521FCA331097}" dt="2022-12-12T16:14:46.462" v="178"/>
        <pc:sldMkLst>
          <pc:docMk/>
          <pc:sldMk cId="3169182066" sldId="824"/>
        </pc:sldMkLst>
      </pc:sldChg>
      <pc:sldChg chg="modSp add del mod">
        <pc:chgData name="Alba Glass" userId="8756ae06-73e2-48f4-80fe-49e9a0ac70ce" providerId="ADAL" clId="{53133E9B-1A89-4527-B14D-521FCA331097}" dt="2022-12-12T16:23:48.308" v="221" actId="47"/>
        <pc:sldMkLst>
          <pc:docMk/>
          <pc:sldMk cId="2098989346" sldId="825"/>
        </pc:sldMkLst>
        <pc:spChg chg="mod">
          <ac:chgData name="Alba Glass" userId="8756ae06-73e2-48f4-80fe-49e9a0ac70ce" providerId="ADAL" clId="{53133E9B-1A89-4527-B14D-521FCA331097}" dt="2022-12-12T16:23:36.494" v="220" actId="27636"/>
          <ac:spMkLst>
            <pc:docMk/>
            <pc:sldMk cId="2098989346" sldId="825"/>
            <ac:spMk id="28" creationId="{86FAEDBE-A2EC-A957-4FA8-E5358331F5E4}"/>
          </ac:spMkLst>
        </pc:spChg>
      </pc:sldChg>
      <pc:sldChg chg="modSp mod">
        <pc:chgData name="Alba Glass" userId="8756ae06-73e2-48f4-80fe-49e9a0ac70ce" providerId="ADAL" clId="{53133E9B-1A89-4527-B14D-521FCA331097}" dt="2022-12-12T16:24:22.707" v="225" actId="113"/>
        <pc:sldMkLst>
          <pc:docMk/>
          <pc:sldMk cId="1202501075" sldId="826"/>
        </pc:sldMkLst>
        <pc:spChg chg="mod">
          <ac:chgData name="Alba Glass" userId="8756ae06-73e2-48f4-80fe-49e9a0ac70ce" providerId="ADAL" clId="{53133E9B-1A89-4527-B14D-521FCA331097}" dt="2022-12-12T16:24:22.707" v="225" actId="113"/>
          <ac:spMkLst>
            <pc:docMk/>
            <pc:sldMk cId="1202501075" sldId="826"/>
            <ac:spMk id="4" creationId="{F5FEDB2A-3DA5-F22A-A59A-618A0A11ED8D}"/>
          </ac:spMkLst>
        </pc:spChg>
      </pc:sldChg>
      <pc:sldMasterChg chg="delSldLayout modSldLayout sldLayoutOrd">
        <pc:chgData name="Alba Glass" userId="8756ae06-73e2-48f4-80fe-49e9a0ac70ce" providerId="ADAL" clId="{53133E9B-1A89-4527-B14D-521FCA331097}" dt="2022-12-12T13:56:21.139" v="17" actId="2696"/>
        <pc:sldMasterMkLst>
          <pc:docMk/>
          <pc:sldMasterMk cId="3966026126" sldId="2147483878"/>
        </pc:sldMasterMkLst>
        <pc:sldLayoutChg chg="ord">
          <pc:chgData name="Alba Glass" userId="8756ae06-73e2-48f4-80fe-49e9a0ac70ce" providerId="ADAL" clId="{53133E9B-1A89-4527-B14D-521FCA331097}" dt="2022-12-09T10:39:05.034" v="1" actId="20578"/>
          <pc:sldLayoutMkLst>
            <pc:docMk/>
            <pc:sldMasterMk cId="3966026126" sldId="2147483878"/>
            <pc:sldLayoutMk cId="2239658699" sldId="2147483896"/>
          </pc:sldLayoutMkLst>
        </pc:sldLayoutChg>
        <pc:sldLayoutChg chg="del">
          <pc:chgData name="Alba Glass" userId="8756ae06-73e2-48f4-80fe-49e9a0ac70ce" providerId="ADAL" clId="{53133E9B-1A89-4527-B14D-521FCA331097}" dt="2022-12-12T13:56:21.139" v="17" actId="2696"/>
          <pc:sldLayoutMkLst>
            <pc:docMk/>
            <pc:sldMasterMk cId="3966026126" sldId="2147483878"/>
            <pc:sldLayoutMk cId="4230289994" sldId="2147483909"/>
          </pc:sldLayoutMkLst>
        </pc:sldLayoutChg>
        <pc:sldLayoutChg chg="del">
          <pc:chgData name="Alba Glass" userId="8756ae06-73e2-48f4-80fe-49e9a0ac70ce" providerId="ADAL" clId="{53133E9B-1A89-4527-B14D-521FCA331097}" dt="2022-12-12T13:56:21.139" v="17" actId="2696"/>
          <pc:sldLayoutMkLst>
            <pc:docMk/>
            <pc:sldMasterMk cId="3966026126" sldId="2147483878"/>
            <pc:sldLayoutMk cId="92760823" sldId="2147483910"/>
          </pc:sldLayoutMkLst>
        </pc:sldLayoutChg>
        <pc:sldLayoutChg chg="del">
          <pc:chgData name="Alba Glass" userId="8756ae06-73e2-48f4-80fe-49e9a0ac70ce" providerId="ADAL" clId="{53133E9B-1A89-4527-B14D-521FCA331097}" dt="2022-12-12T13:56:21.139" v="17" actId="2696"/>
          <pc:sldLayoutMkLst>
            <pc:docMk/>
            <pc:sldMasterMk cId="3966026126" sldId="2147483878"/>
            <pc:sldLayoutMk cId="1058376503" sldId="2147483911"/>
          </pc:sldLayoutMkLst>
        </pc:sldLayoutChg>
        <pc:sldLayoutChg chg="del">
          <pc:chgData name="Alba Glass" userId="8756ae06-73e2-48f4-80fe-49e9a0ac70ce" providerId="ADAL" clId="{53133E9B-1A89-4527-B14D-521FCA331097}" dt="2022-12-12T13:56:21.139" v="17" actId="2696"/>
          <pc:sldLayoutMkLst>
            <pc:docMk/>
            <pc:sldMasterMk cId="3966026126" sldId="2147483878"/>
            <pc:sldLayoutMk cId="3825975730" sldId="2147483912"/>
          </pc:sldLayoutMkLst>
        </pc:sldLayoutChg>
      </pc:sldMasterChg>
      <pc:sldMasterChg chg="del setBg delSldLayout modSldLayout">
        <pc:chgData name="Alba Glass" userId="8756ae06-73e2-48f4-80fe-49e9a0ac70ce" providerId="ADAL" clId="{53133E9B-1A89-4527-B14D-521FCA331097}" dt="2022-12-12T14:28:58.939" v="95" actId="47"/>
        <pc:sldMasterMkLst>
          <pc:docMk/>
          <pc:sldMasterMk cId="1306091202" sldId="2147483897"/>
        </pc:sldMasterMkLst>
        <pc:sldLayoutChg chg="delSp modSp del mod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2508106052" sldId="2147483898"/>
          </pc:sldLayoutMkLst>
          <pc:spChg chg="del mod">
            <ac:chgData name="Alba Glass" userId="8756ae06-73e2-48f4-80fe-49e9a0ac70ce" providerId="ADAL" clId="{53133E9B-1A89-4527-B14D-521FCA331097}" dt="2022-12-12T14:13:16.628" v="82" actId="478"/>
            <ac:spMkLst>
              <pc:docMk/>
              <pc:sldMasterMk cId="1306091202" sldId="2147483897"/>
              <pc:sldLayoutMk cId="2508106052" sldId="2147483898"/>
              <ac:spMk id="4" creationId="{00000000-0000-0000-0000-000000000000}"/>
            </ac:spMkLst>
          </pc:spChg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3289961769" sldId="2147483899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1196275962" sldId="2147483900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461826770" sldId="2147483901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675976882" sldId="2147483902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3706549712" sldId="2147483903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728134002" sldId="2147483904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3547589043" sldId="2147483905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3275701379" sldId="2147483906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2090200784" sldId="2147483907"/>
          </pc:sldLayoutMkLst>
        </pc:sldLayoutChg>
        <pc:sldLayoutChg chg="del">
          <pc:chgData name="Alba Glass" userId="8756ae06-73e2-48f4-80fe-49e9a0ac70ce" providerId="ADAL" clId="{53133E9B-1A89-4527-B14D-521FCA331097}" dt="2022-12-12T14:28:58.939" v="95" actId="47"/>
          <pc:sldLayoutMkLst>
            <pc:docMk/>
            <pc:sldMasterMk cId="1306091202" sldId="2147483897"/>
            <pc:sldLayoutMk cId="43863765" sldId="2147483908"/>
          </pc:sldLayoutMkLst>
        </pc:sldLayoutChg>
      </pc:sldMasterChg>
      <pc:sldMasterChg chg="addSp delSp modSp mod">
        <pc:chgData name="Alba Glass" userId="8756ae06-73e2-48f4-80fe-49e9a0ac70ce" providerId="ADAL" clId="{53133E9B-1A89-4527-B14D-521FCA331097}" dt="2022-12-12T14:12:45.743" v="79" actId="478"/>
        <pc:sldMasterMkLst>
          <pc:docMk/>
          <pc:sldMasterMk cId="1455083329" sldId="2147483913"/>
        </pc:sldMasterMkLst>
        <pc:picChg chg="del">
          <ac:chgData name="Alba Glass" userId="8756ae06-73e2-48f4-80fe-49e9a0ac70ce" providerId="ADAL" clId="{53133E9B-1A89-4527-B14D-521FCA331097}" dt="2022-12-12T14:12:45.743" v="79" actId="478"/>
          <ac:picMkLst>
            <pc:docMk/>
            <pc:sldMasterMk cId="1455083329" sldId="2147483913"/>
            <ac:picMk id="2" creationId="{00000000-0000-0000-0000-000000000000}"/>
          </ac:picMkLst>
        </pc:picChg>
        <pc:picChg chg="add mod">
          <ac:chgData name="Alba Glass" userId="8756ae06-73e2-48f4-80fe-49e9a0ac70ce" providerId="ADAL" clId="{53133E9B-1A89-4527-B14D-521FCA331097}" dt="2022-12-12T14:12:44.246" v="78" actId="14100"/>
          <ac:picMkLst>
            <pc:docMk/>
            <pc:sldMasterMk cId="1455083329" sldId="2147483913"/>
            <ac:picMk id="10" creationId="{B110E2C2-3369-D8A1-F0E8-1446D234F0F3}"/>
          </ac:picMkLst>
        </pc:picChg>
      </pc:sldMasterChg>
      <pc:sldMasterChg chg="modSp mod modSldLayout">
        <pc:chgData name="Alba Glass" userId="8756ae06-73e2-48f4-80fe-49e9a0ac70ce" providerId="ADAL" clId="{53133E9B-1A89-4527-B14D-521FCA331097}" dt="2022-12-12T14:14:24.874" v="86" actId="14100"/>
        <pc:sldMasterMkLst>
          <pc:docMk/>
          <pc:sldMasterMk cId="2462748909" sldId="2147483933"/>
        </pc:sldMasterMkLst>
        <pc:spChg chg="mod">
          <ac:chgData name="Alba Glass" userId="8756ae06-73e2-48f4-80fe-49e9a0ac70ce" providerId="ADAL" clId="{53133E9B-1A89-4527-B14D-521FCA331097}" dt="2022-12-12T14:14:24.874" v="86" actId="14100"/>
          <ac:spMkLst>
            <pc:docMk/>
            <pc:sldMasterMk cId="2462748909" sldId="2147483933"/>
            <ac:spMk id="11" creationId="{00000000-0000-0000-0000-000000000000}"/>
          </ac:spMkLst>
        </pc:spChg>
        <pc:sldLayoutChg chg="addSp delSp modSp mod">
          <pc:chgData name="Alba Glass" userId="8756ae06-73e2-48f4-80fe-49e9a0ac70ce" providerId="ADAL" clId="{53133E9B-1A89-4527-B14D-521FCA331097}" dt="2022-12-12T14:14:08.972" v="85" actId="478"/>
          <pc:sldLayoutMkLst>
            <pc:docMk/>
            <pc:sldMasterMk cId="2462748909" sldId="2147483933"/>
            <pc:sldLayoutMk cId="750545336" sldId="2147483934"/>
          </pc:sldLayoutMkLst>
          <pc:picChg chg="del">
            <ac:chgData name="Alba Glass" userId="8756ae06-73e2-48f4-80fe-49e9a0ac70ce" providerId="ADAL" clId="{53133E9B-1A89-4527-B14D-521FCA331097}" dt="2022-12-12T14:14:08.972" v="85" actId="478"/>
            <ac:picMkLst>
              <pc:docMk/>
              <pc:sldMasterMk cId="2462748909" sldId="2147483933"/>
              <pc:sldLayoutMk cId="750545336" sldId="2147483934"/>
              <ac:picMk id="3" creationId="{00000000-0000-0000-0000-000000000000}"/>
            </ac:picMkLst>
          </pc:picChg>
          <pc:picChg chg="add mod">
            <ac:chgData name="Alba Glass" userId="8756ae06-73e2-48f4-80fe-49e9a0ac70ce" providerId="ADAL" clId="{53133E9B-1A89-4527-B14D-521FCA331097}" dt="2022-12-12T14:14:07.882" v="84" actId="14100"/>
            <ac:picMkLst>
              <pc:docMk/>
              <pc:sldMasterMk cId="2462748909" sldId="2147483933"/>
              <pc:sldLayoutMk cId="750545336" sldId="2147483934"/>
              <ac:picMk id="4" creationId="{33A4A5D5-C69B-6EE3-FE34-EA9E0ABC61D2}"/>
            </ac:picMkLst>
          </pc:picChg>
        </pc:sldLayoutChg>
        <pc:sldLayoutChg chg="modSp mod">
          <pc:chgData name="Alba Glass" userId="8756ae06-73e2-48f4-80fe-49e9a0ac70ce" providerId="ADAL" clId="{53133E9B-1A89-4527-B14D-521FCA331097}" dt="2022-12-12T14:10:59.919" v="76" actId="14100"/>
          <pc:sldLayoutMkLst>
            <pc:docMk/>
            <pc:sldMasterMk cId="2462748909" sldId="2147483933"/>
            <pc:sldLayoutMk cId="420879444" sldId="2147483935"/>
          </pc:sldLayoutMkLst>
          <pc:picChg chg="mod">
            <ac:chgData name="Alba Glass" userId="8756ae06-73e2-48f4-80fe-49e9a0ac70ce" providerId="ADAL" clId="{53133E9B-1A89-4527-B14D-521FCA331097}" dt="2022-12-12T14:10:59.919" v="76" actId="14100"/>
            <ac:picMkLst>
              <pc:docMk/>
              <pc:sldMasterMk cId="2462748909" sldId="2147483933"/>
              <pc:sldLayoutMk cId="420879444" sldId="2147483935"/>
              <ac:picMk id="3" creationId="{00000000-0000-0000-0000-000000000000}"/>
            </ac:picMkLst>
          </pc:picChg>
        </pc:sldLayoutChg>
      </pc:sldMasterChg>
      <pc:sldMasterChg chg="delSldLayout">
        <pc:chgData name="Alba Glass" userId="8756ae06-73e2-48f4-80fe-49e9a0ac70ce" providerId="ADAL" clId="{53133E9B-1A89-4527-B14D-521FCA331097}" dt="2022-12-12T16:23:48.308" v="221" actId="47"/>
        <pc:sldMasterMkLst>
          <pc:docMk/>
          <pc:sldMasterMk cId="3555308113" sldId="2147483985"/>
        </pc:sldMasterMkLst>
        <pc:sldLayoutChg chg="del">
          <pc:chgData name="Alba Glass" userId="8756ae06-73e2-48f4-80fe-49e9a0ac70ce" providerId="ADAL" clId="{53133E9B-1A89-4527-B14D-521FCA331097}" dt="2022-12-12T16:23:48.308" v="221" actId="47"/>
          <pc:sldLayoutMkLst>
            <pc:docMk/>
            <pc:sldMasterMk cId="3555308113" sldId="2147483985"/>
            <pc:sldLayoutMk cId="2815950103" sldId="2147483997"/>
          </pc:sldLayoutMkLst>
        </pc:sldLayoutChg>
      </pc:sldMasterChg>
    </pc:docChg>
  </pc:docChgLst>
  <pc:docChgLst>
    <pc:chgData name="Lorraine Claffey" userId="1f5c1c29-3b5a-472d-9a11-195d46ef3825" providerId="ADAL" clId="{D08AE3F1-2795-4EA5-B54D-F743BF43DF9F}"/>
    <pc:docChg chg="undo custSel addSld delSld modSld sldOrd modMainMaster">
      <pc:chgData name="Lorraine Claffey" userId="1f5c1c29-3b5a-472d-9a11-195d46ef3825" providerId="ADAL" clId="{D08AE3F1-2795-4EA5-B54D-F743BF43DF9F}" dt="2022-12-12T15:31:32.204" v="1860" actId="1076"/>
      <pc:docMkLst>
        <pc:docMk/>
      </pc:docMkLst>
      <pc:sldChg chg="addSp delSp modSp mod ord">
        <pc:chgData name="Lorraine Claffey" userId="1f5c1c29-3b5a-472d-9a11-195d46ef3825" providerId="ADAL" clId="{D08AE3F1-2795-4EA5-B54D-F743BF43DF9F}" dt="2022-12-12T11:28:37.639" v="881" actId="20577"/>
        <pc:sldMkLst>
          <pc:docMk/>
          <pc:sldMk cId="191112422" sldId="257"/>
        </pc:sldMkLst>
        <pc:spChg chg="add del mod">
          <ac:chgData name="Lorraine Claffey" userId="1f5c1c29-3b5a-472d-9a11-195d46ef3825" providerId="ADAL" clId="{D08AE3F1-2795-4EA5-B54D-F743BF43DF9F}" dt="2022-12-12T11:01:41.825" v="641" actId="478"/>
          <ac:spMkLst>
            <pc:docMk/>
            <pc:sldMk cId="191112422" sldId="257"/>
            <ac:spMk id="3" creationId="{C1AF726B-1546-0650-A31F-FD994FB6ACC8}"/>
          </ac:spMkLst>
        </pc:spChg>
        <pc:spChg chg="add mod">
          <ac:chgData name="Lorraine Claffey" userId="1f5c1c29-3b5a-472d-9a11-195d46ef3825" providerId="ADAL" clId="{D08AE3F1-2795-4EA5-B54D-F743BF43DF9F}" dt="2022-12-12T11:04:38.049" v="683" actId="1076"/>
          <ac:spMkLst>
            <pc:docMk/>
            <pc:sldMk cId="191112422" sldId="257"/>
            <ac:spMk id="4" creationId="{21A26CFC-E60C-BD97-07DB-8175068F2EA7}"/>
          </ac:spMkLst>
        </pc:spChg>
        <pc:spChg chg="add del">
          <ac:chgData name="Lorraine Claffey" userId="1f5c1c29-3b5a-472d-9a11-195d46ef3825" providerId="ADAL" clId="{D08AE3F1-2795-4EA5-B54D-F743BF43DF9F}" dt="2022-12-12T11:09:45.018" v="714" actId="22"/>
          <ac:spMkLst>
            <pc:docMk/>
            <pc:sldMk cId="191112422" sldId="257"/>
            <ac:spMk id="6" creationId="{5A26854D-5CF8-AA92-9850-5DCE50A335A1}"/>
          </ac:spMkLst>
        </pc:spChg>
        <pc:spChg chg="add mod">
          <ac:chgData name="Lorraine Claffey" userId="1f5c1c29-3b5a-472d-9a11-195d46ef3825" providerId="ADAL" clId="{D08AE3F1-2795-4EA5-B54D-F743BF43DF9F}" dt="2022-12-12T11:14:51.771" v="762" actId="1076"/>
          <ac:spMkLst>
            <pc:docMk/>
            <pc:sldMk cId="191112422" sldId="257"/>
            <ac:spMk id="8" creationId="{693CF914-4C27-50C9-793F-73EFDBDED1C2}"/>
          </ac:spMkLst>
        </pc:spChg>
        <pc:spChg chg="add mod">
          <ac:chgData name="Lorraine Claffey" userId="1f5c1c29-3b5a-472d-9a11-195d46ef3825" providerId="ADAL" clId="{D08AE3F1-2795-4EA5-B54D-F743BF43DF9F}" dt="2022-12-12T11:22:15.522" v="821" actId="20577"/>
          <ac:spMkLst>
            <pc:docMk/>
            <pc:sldMk cId="191112422" sldId="257"/>
            <ac:spMk id="10" creationId="{FA9ABF44-0825-A2D4-FE42-48FAFF936AD3}"/>
          </ac:spMkLst>
        </pc:spChg>
        <pc:spChg chg="add mod">
          <ac:chgData name="Lorraine Claffey" userId="1f5c1c29-3b5a-472d-9a11-195d46ef3825" providerId="ADAL" clId="{D08AE3F1-2795-4EA5-B54D-F743BF43DF9F}" dt="2022-12-12T11:28:37.639" v="881" actId="20577"/>
          <ac:spMkLst>
            <pc:docMk/>
            <pc:sldMk cId="191112422" sldId="257"/>
            <ac:spMk id="11" creationId="{DD921C2B-3964-84D0-E452-CD635EEB5248}"/>
          </ac:spMkLst>
        </pc:spChg>
        <pc:spChg chg="mod">
          <ac:chgData name="Lorraine Claffey" userId="1f5c1c29-3b5a-472d-9a11-195d46ef3825" providerId="ADAL" clId="{D08AE3F1-2795-4EA5-B54D-F743BF43DF9F}" dt="2022-12-12T11:09:38.712" v="712" actId="21"/>
          <ac:spMkLst>
            <pc:docMk/>
            <pc:sldMk cId="191112422" sldId="257"/>
            <ac:spMk id="19" creationId="{FF4B61D0-9742-0F27-E0F9-FE81B769D6D7}"/>
          </ac:spMkLst>
        </pc:spChg>
        <pc:spChg chg="mod">
          <ac:chgData name="Lorraine Claffey" userId="1f5c1c29-3b5a-472d-9a11-195d46ef3825" providerId="ADAL" clId="{D08AE3F1-2795-4EA5-B54D-F743BF43DF9F}" dt="2022-12-01T11:21:07.138" v="142" actId="20577"/>
          <ac:spMkLst>
            <pc:docMk/>
            <pc:sldMk cId="191112422" sldId="257"/>
            <ac:spMk id="28" creationId="{86FAEDBE-A2EC-A957-4FA8-E5358331F5E4}"/>
          </ac:spMkLst>
        </pc:spChg>
        <pc:picChg chg="add del mod">
          <ac:chgData name="Lorraine Claffey" userId="1f5c1c29-3b5a-472d-9a11-195d46ef3825" providerId="ADAL" clId="{D08AE3F1-2795-4EA5-B54D-F743BF43DF9F}" dt="2022-12-12T11:20:47.334" v="767" actId="478"/>
          <ac:picMkLst>
            <pc:docMk/>
            <pc:sldMk cId="191112422" sldId="257"/>
            <ac:picMk id="9" creationId="{D3A8088A-3160-9692-9BEE-F0C43DE1B873}"/>
          </ac:picMkLst>
        </pc:picChg>
      </pc:sldChg>
      <pc:sldChg chg="modSp mod">
        <pc:chgData name="Lorraine Claffey" userId="1f5c1c29-3b5a-472d-9a11-195d46ef3825" providerId="ADAL" clId="{D08AE3F1-2795-4EA5-B54D-F743BF43DF9F}" dt="2022-12-01T11:28:19.742" v="457" actId="20577"/>
        <pc:sldMkLst>
          <pc:docMk/>
          <pc:sldMk cId="3290542844" sldId="263"/>
        </pc:sldMkLst>
        <pc:spChg chg="mod">
          <ac:chgData name="Lorraine Claffey" userId="1f5c1c29-3b5a-472d-9a11-195d46ef3825" providerId="ADAL" clId="{D08AE3F1-2795-4EA5-B54D-F743BF43DF9F}" dt="2022-12-01T11:28:12.514" v="451" actId="20577"/>
          <ac:spMkLst>
            <pc:docMk/>
            <pc:sldMk cId="3290542844" sldId="263"/>
            <ac:spMk id="3" creationId="{A8692D20-70F3-5EBA-5F91-D5D1D0285E1C}"/>
          </ac:spMkLst>
        </pc:spChg>
        <pc:spChg chg="mod">
          <ac:chgData name="Lorraine Claffey" userId="1f5c1c29-3b5a-472d-9a11-195d46ef3825" providerId="ADAL" clId="{D08AE3F1-2795-4EA5-B54D-F743BF43DF9F}" dt="2022-12-01T11:28:07.802" v="436" actId="20577"/>
          <ac:spMkLst>
            <pc:docMk/>
            <pc:sldMk cId="3290542844" sldId="263"/>
            <ac:spMk id="4" creationId="{6FA81E89-A5A5-B43E-87AD-4C9B8F8E930E}"/>
          </ac:spMkLst>
        </pc:spChg>
        <pc:spChg chg="mod">
          <ac:chgData name="Lorraine Claffey" userId="1f5c1c29-3b5a-472d-9a11-195d46ef3825" providerId="ADAL" clId="{D08AE3F1-2795-4EA5-B54D-F743BF43DF9F}" dt="2022-12-01T11:28:19.742" v="457" actId="20577"/>
          <ac:spMkLst>
            <pc:docMk/>
            <pc:sldMk cId="3290542844" sldId="263"/>
            <ac:spMk id="7" creationId="{1D49A82E-FB2C-B993-0FBB-9E20253BFF96}"/>
          </ac:spMkLst>
        </pc:spChg>
      </pc:sldChg>
      <pc:sldChg chg="addSp modSp new mod ord modAnim">
        <pc:chgData name="Lorraine Claffey" userId="1f5c1c29-3b5a-472d-9a11-195d46ef3825" providerId="ADAL" clId="{D08AE3F1-2795-4EA5-B54D-F743BF43DF9F}" dt="2022-12-09T17:25:25.035" v="459"/>
        <pc:sldMkLst>
          <pc:docMk/>
          <pc:sldMk cId="3375986281" sldId="266"/>
        </pc:sldMkLst>
        <pc:spChg chg="mod">
          <ac:chgData name="Lorraine Claffey" userId="1f5c1c29-3b5a-472d-9a11-195d46ef3825" providerId="ADAL" clId="{D08AE3F1-2795-4EA5-B54D-F743BF43DF9F}" dt="2022-12-01T11:20:26.015" v="63" actId="120"/>
          <ac:spMkLst>
            <pc:docMk/>
            <pc:sldMk cId="3375986281" sldId="266"/>
            <ac:spMk id="2" creationId="{9A611B85-74DA-6362-4E48-DF3867344696}"/>
          </ac:spMkLst>
        </pc:spChg>
        <pc:picChg chg="add mod">
          <ac:chgData name="Lorraine Claffey" userId="1f5c1c29-3b5a-472d-9a11-195d46ef3825" providerId="ADAL" clId="{D08AE3F1-2795-4EA5-B54D-F743BF43DF9F}" dt="2022-12-01T11:15:20.354" v="54" actId="1076"/>
          <ac:picMkLst>
            <pc:docMk/>
            <pc:sldMk cId="3375986281" sldId="266"/>
            <ac:picMk id="3" creationId="{A875F0C8-1C8C-5295-36D5-E9CDBCAEEDDC}"/>
          </ac:picMkLst>
        </pc:picChg>
      </pc:sldChg>
      <pc:sldChg chg="modSp add mod ord">
        <pc:chgData name="Lorraine Claffey" userId="1f5c1c29-3b5a-472d-9a11-195d46ef3825" providerId="ADAL" clId="{D08AE3F1-2795-4EA5-B54D-F743BF43DF9F}" dt="2022-12-12T12:29:04.635" v="1453" actId="20577"/>
        <pc:sldMkLst>
          <pc:docMk/>
          <pc:sldMk cId="3934005753" sldId="267"/>
        </pc:sldMkLst>
        <pc:spChg chg="mod">
          <ac:chgData name="Lorraine Claffey" userId="1f5c1c29-3b5a-472d-9a11-195d46ef3825" providerId="ADAL" clId="{D08AE3F1-2795-4EA5-B54D-F743BF43DF9F}" dt="2022-12-12T12:29:04.635" v="1453" actId="20577"/>
          <ac:spMkLst>
            <pc:docMk/>
            <pc:sldMk cId="3934005753" sldId="267"/>
            <ac:spMk id="19" creationId="{FF4B61D0-9742-0F27-E0F9-FE81B769D6D7}"/>
          </ac:spMkLst>
        </pc:spChg>
        <pc:spChg chg="mod">
          <ac:chgData name="Lorraine Claffey" userId="1f5c1c29-3b5a-472d-9a11-195d46ef3825" providerId="ADAL" clId="{D08AE3F1-2795-4EA5-B54D-F743BF43DF9F}" dt="2022-12-01T11:23:28.743" v="291" actId="20577"/>
          <ac:spMkLst>
            <pc:docMk/>
            <pc:sldMk cId="3934005753" sldId="267"/>
            <ac:spMk id="28" creationId="{86FAEDBE-A2EC-A957-4FA8-E5358331F5E4}"/>
          </ac:spMkLst>
        </pc:spChg>
        <pc:spChg chg="mod">
          <ac:chgData name="Lorraine Claffey" userId="1f5c1c29-3b5a-472d-9a11-195d46ef3825" providerId="ADAL" clId="{D08AE3F1-2795-4EA5-B54D-F743BF43DF9F}" dt="2022-12-01T11:23:02.574" v="230" actId="20577"/>
          <ac:spMkLst>
            <pc:docMk/>
            <pc:sldMk cId="3934005753" sldId="267"/>
            <ac:spMk id="30" creationId="{FF3BCEE4-2A5B-76C0-B40D-28B345935E0B}"/>
          </ac:spMkLst>
        </pc:spChg>
      </pc:sldChg>
      <pc:sldChg chg="addSp delSp modSp add mod">
        <pc:chgData name="Lorraine Claffey" userId="1f5c1c29-3b5a-472d-9a11-195d46ef3825" providerId="ADAL" clId="{D08AE3F1-2795-4EA5-B54D-F743BF43DF9F}" dt="2022-12-09T17:28:50.274" v="468" actId="478"/>
        <pc:sldMkLst>
          <pc:docMk/>
          <pc:sldMk cId="2370914944" sldId="268"/>
        </pc:sldMkLst>
        <pc:spChg chg="del mod">
          <ac:chgData name="Lorraine Claffey" userId="1f5c1c29-3b5a-472d-9a11-195d46ef3825" providerId="ADAL" clId="{D08AE3F1-2795-4EA5-B54D-F743BF43DF9F}" dt="2022-12-09T17:28:41.757" v="463" actId="478"/>
          <ac:spMkLst>
            <pc:docMk/>
            <pc:sldMk cId="2370914944" sldId="268"/>
            <ac:spMk id="3" creationId="{400CB0E9-E353-EDEF-9756-848C7A268781}"/>
          </ac:spMkLst>
        </pc:spChg>
        <pc:spChg chg="add del mod">
          <ac:chgData name="Lorraine Claffey" userId="1f5c1c29-3b5a-472d-9a11-195d46ef3825" providerId="ADAL" clId="{D08AE3F1-2795-4EA5-B54D-F743BF43DF9F}" dt="2022-12-09T17:28:43.800" v="465" actId="478"/>
          <ac:spMkLst>
            <pc:docMk/>
            <pc:sldMk cId="2370914944" sldId="268"/>
            <ac:spMk id="4" creationId="{CF683A33-4802-270D-3B2C-4ACD4F749D97}"/>
          </ac:spMkLst>
        </pc:spChg>
        <pc:spChg chg="del mod">
          <ac:chgData name="Lorraine Claffey" userId="1f5c1c29-3b5a-472d-9a11-195d46ef3825" providerId="ADAL" clId="{D08AE3F1-2795-4EA5-B54D-F743BF43DF9F}" dt="2022-12-09T17:28:47.035" v="467" actId="478"/>
          <ac:spMkLst>
            <pc:docMk/>
            <pc:sldMk cId="2370914944" sldId="268"/>
            <ac:spMk id="5" creationId="{78D92546-D8A6-960C-D07F-12D47D0C92BC}"/>
          </ac:spMkLst>
        </pc:spChg>
        <pc:spChg chg="add del mod">
          <ac:chgData name="Lorraine Claffey" userId="1f5c1c29-3b5a-472d-9a11-195d46ef3825" providerId="ADAL" clId="{D08AE3F1-2795-4EA5-B54D-F743BF43DF9F}" dt="2022-12-09T17:28:50.274" v="468" actId="478"/>
          <ac:spMkLst>
            <pc:docMk/>
            <pc:sldMk cId="2370914944" sldId="268"/>
            <ac:spMk id="7" creationId="{018EC4F3-F197-E93D-32EA-7275407F0039}"/>
          </ac:spMkLst>
        </pc:spChg>
      </pc:sldChg>
      <pc:sldChg chg="add del setBg">
        <pc:chgData name="Lorraine Claffey" userId="1f5c1c29-3b5a-472d-9a11-195d46ef3825" providerId="ADAL" clId="{D08AE3F1-2795-4EA5-B54D-F743BF43DF9F}" dt="2022-12-09T17:29:06.611" v="470"/>
        <pc:sldMkLst>
          <pc:docMk/>
          <pc:sldMk cId="2593518496" sldId="269"/>
        </pc:sldMkLst>
      </pc:sldChg>
      <pc:sldChg chg="modSp mod">
        <pc:chgData name="Lorraine Claffey" userId="1f5c1c29-3b5a-472d-9a11-195d46ef3825" providerId="ADAL" clId="{D08AE3F1-2795-4EA5-B54D-F743BF43DF9F}" dt="2022-12-12T10:53:07.850" v="566" actId="27636"/>
        <pc:sldMkLst>
          <pc:docMk/>
          <pc:sldMk cId="1192318132" sldId="347"/>
        </pc:sldMkLst>
        <pc:spChg chg="mod">
          <ac:chgData name="Lorraine Claffey" userId="1f5c1c29-3b5a-472d-9a11-195d46ef3825" providerId="ADAL" clId="{D08AE3F1-2795-4EA5-B54D-F743BF43DF9F}" dt="2022-12-12T10:53:07.850" v="566" actId="27636"/>
          <ac:spMkLst>
            <pc:docMk/>
            <pc:sldMk cId="1192318132" sldId="347"/>
            <ac:spMk id="2" creationId="{00000000-0000-0000-0000-000000000000}"/>
          </ac:spMkLst>
        </pc:spChg>
      </pc:sldChg>
      <pc:sldChg chg="modSp mod">
        <pc:chgData name="Lorraine Claffey" userId="1f5c1c29-3b5a-472d-9a11-195d46ef3825" providerId="ADAL" clId="{D08AE3F1-2795-4EA5-B54D-F743BF43DF9F}" dt="2022-12-12T10:53:56.025" v="567" actId="27636"/>
        <pc:sldMkLst>
          <pc:docMk/>
          <pc:sldMk cId="1638718501" sldId="419"/>
        </pc:sldMkLst>
        <pc:spChg chg="mod">
          <ac:chgData name="Lorraine Claffey" userId="1f5c1c29-3b5a-472d-9a11-195d46ef3825" providerId="ADAL" clId="{D08AE3F1-2795-4EA5-B54D-F743BF43DF9F}" dt="2022-12-12T10:53:56.025" v="567" actId="27636"/>
          <ac:spMkLst>
            <pc:docMk/>
            <pc:sldMk cId="1638718501" sldId="419"/>
            <ac:spMk id="2" creationId="{00000000-0000-0000-0000-000000000000}"/>
          </ac:spMkLst>
        </pc:spChg>
      </pc:sldChg>
      <pc:sldChg chg="modSp del mod">
        <pc:chgData name="Lorraine Claffey" userId="1f5c1c29-3b5a-472d-9a11-195d46ef3825" providerId="ADAL" clId="{D08AE3F1-2795-4EA5-B54D-F743BF43DF9F}" dt="2022-12-12T12:32:51.566" v="1456"/>
        <pc:sldMkLst>
          <pc:docMk/>
          <pc:sldMk cId="2593518496" sldId="424"/>
        </pc:sldMkLst>
        <pc:spChg chg="mod">
          <ac:chgData name="Lorraine Claffey" userId="1f5c1c29-3b5a-472d-9a11-195d46ef3825" providerId="ADAL" clId="{D08AE3F1-2795-4EA5-B54D-F743BF43DF9F}" dt="2022-12-12T12:32:51.566" v="1456"/>
          <ac:spMkLst>
            <pc:docMk/>
            <pc:sldMk cId="2593518496" sldId="424"/>
            <ac:spMk id="4" creationId="{B49CA57F-9666-4149-A2AB-E3D0D419D955}"/>
          </ac:spMkLst>
        </pc:spChg>
      </pc:sldChg>
      <pc:sldChg chg="add ord">
        <pc:chgData name="Lorraine Claffey" userId="1f5c1c29-3b5a-472d-9a11-195d46ef3825" providerId="ADAL" clId="{D08AE3F1-2795-4EA5-B54D-F743BF43DF9F}" dt="2022-12-12T14:54:52.415" v="1459"/>
        <pc:sldMkLst>
          <pc:docMk/>
          <pc:sldMk cId="518560370" sldId="816"/>
        </pc:sldMkLst>
      </pc:sldChg>
      <pc:sldChg chg="add ord">
        <pc:chgData name="Lorraine Claffey" userId="1f5c1c29-3b5a-472d-9a11-195d46ef3825" providerId="ADAL" clId="{D08AE3F1-2795-4EA5-B54D-F743BF43DF9F}" dt="2022-12-12T14:55:28.188" v="1462"/>
        <pc:sldMkLst>
          <pc:docMk/>
          <pc:sldMk cId="1881705576" sldId="817"/>
        </pc:sldMkLst>
      </pc:sldChg>
      <pc:sldChg chg="delSp modSp add mod ord">
        <pc:chgData name="Lorraine Claffey" userId="1f5c1c29-3b5a-472d-9a11-195d46ef3825" providerId="ADAL" clId="{D08AE3F1-2795-4EA5-B54D-F743BF43DF9F}" dt="2022-12-12T14:57:27.769" v="1505" actId="20577"/>
        <pc:sldMkLst>
          <pc:docMk/>
          <pc:sldMk cId="833570864" sldId="818"/>
        </pc:sldMkLst>
        <pc:spChg chg="mod">
          <ac:chgData name="Lorraine Claffey" userId="1f5c1c29-3b5a-472d-9a11-195d46ef3825" providerId="ADAL" clId="{D08AE3F1-2795-4EA5-B54D-F743BF43DF9F}" dt="2022-12-12T14:57:00.776" v="1478" actId="20577"/>
          <ac:spMkLst>
            <pc:docMk/>
            <pc:sldMk cId="833570864" sldId="818"/>
            <ac:spMk id="3" creationId="{A8692D20-70F3-5EBA-5F91-D5D1D0285E1C}"/>
          </ac:spMkLst>
        </pc:spChg>
        <pc:spChg chg="del mod">
          <ac:chgData name="Lorraine Claffey" userId="1f5c1c29-3b5a-472d-9a11-195d46ef3825" providerId="ADAL" clId="{D08AE3F1-2795-4EA5-B54D-F743BF43DF9F}" dt="2022-12-12T14:56:54.128" v="1467" actId="478"/>
          <ac:spMkLst>
            <pc:docMk/>
            <pc:sldMk cId="833570864" sldId="818"/>
            <ac:spMk id="4" creationId="{6FA81E89-A5A5-B43E-87AD-4C9B8F8E930E}"/>
          </ac:spMkLst>
        </pc:spChg>
        <pc:spChg chg="mod">
          <ac:chgData name="Lorraine Claffey" userId="1f5c1c29-3b5a-472d-9a11-195d46ef3825" providerId="ADAL" clId="{D08AE3F1-2795-4EA5-B54D-F743BF43DF9F}" dt="2022-12-12T14:57:27.769" v="1505" actId="20577"/>
          <ac:spMkLst>
            <pc:docMk/>
            <pc:sldMk cId="833570864" sldId="818"/>
            <ac:spMk id="7" creationId="{1D49A82E-FB2C-B993-0FBB-9E20253BFF96}"/>
          </ac:spMkLst>
        </pc:spChg>
      </pc:sldChg>
      <pc:sldChg chg="modSp add del mod">
        <pc:chgData name="Lorraine Claffey" userId="1f5c1c29-3b5a-472d-9a11-195d46ef3825" providerId="ADAL" clId="{D08AE3F1-2795-4EA5-B54D-F743BF43DF9F}" dt="2022-12-12T15:03:24.317" v="1724" actId="2696"/>
        <pc:sldMkLst>
          <pc:docMk/>
          <pc:sldMk cId="2226859227" sldId="819"/>
        </pc:sldMkLst>
        <pc:spChg chg="mod">
          <ac:chgData name="Lorraine Claffey" userId="1f5c1c29-3b5a-472d-9a11-195d46ef3825" providerId="ADAL" clId="{D08AE3F1-2795-4EA5-B54D-F743BF43DF9F}" dt="2022-12-12T14:58:19.366" v="1523" actId="20577"/>
          <ac:spMkLst>
            <pc:docMk/>
            <pc:sldMk cId="2226859227" sldId="819"/>
            <ac:spMk id="3" creationId="{A8692D20-70F3-5EBA-5F91-D5D1D0285E1C}"/>
          </ac:spMkLst>
        </pc:spChg>
        <pc:spChg chg="mod">
          <ac:chgData name="Lorraine Claffey" userId="1f5c1c29-3b5a-472d-9a11-195d46ef3825" providerId="ADAL" clId="{D08AE3F1-2795-4EA5-B54D-F743BF43DF9F}" dt="2022-12-12T14:59:41.437" v="1585" actId="20577"/>
          <ac:spMkLst>
            <pc:docMk/>
            <pc:sldMk cId="2226859227" sldId="819"/>
            <ac:spMk id="7" creationId="{1D49A82E-FB2C-B993-0FBB-9E20253BFF96}"/>
          </ac:spMkLst>
        </pc:spChg>
      </pc:sldChg>
      <pc:sldChg chg="delSp modSp add mod ord">
        <pc:chgData name="Lorraine Claffey" userId="1f5c1c29-3b5a-472d-9a11-195d46ef3825" providerId="ADAL" clId="{D08AE3F1-2795-4EA5-B54D-F743BF43DF9F}" dt="2022-12-12T15:03:07.146" v="1723" actId="6549"/>
        <pc:sldMkLst>
          <pc:docMk/>
          <pc:sldMk cId="2333103964" sldId="820"/>
        </pc:sldMkLst>
        <pc:spChg chg="del mod">
          <ac:chgData name="Lorraine Claffey" userId="1f5c1c29-3b5a-472d-9a11-195d46ef3825" providerId="ADAL" clId="{D08AE3F1-2795-4EA5-B54D-F743BF43DF9F}" dt="2022-12-12T15:01:43.310" v="1596" actId="478"/>
          <ac:spMkLst>
            <pc:docMk/>
            <pc:sldMk cId="2333103964" sldId="820"/>
            <ac:spMk id="4" creationId="{21A26CFC-E60C-BD97-07DB-8175068F2EA7}"/>
          </ac:spMkLst>
        </pc:spChg>
        <pc:spChg chg="del mod">
          <ac:chgData name="Lorraine Claffey" userId="1f5c1c29-3b5a-472d-9a11-195d46ef3825" providerId="ADAL" clId="{D08AE3F1-2795-4EA5-B54D-F743BF43DF9F}" dt="2022-12-12T15:01:13.480" v="1594" actId="478"/>
          <ac:spMkLst>
            <pc:docMk/>
            <pc:sldMk cId="2333103964" sldId="820"/>
            <ac:spMk id="8" creationId="{693CF914-4C27-50C9-793F-73EFDBDED1C2}"/>
          </ac:spMkLst>
        </pc:spChg>
        <pc:spChg chg="del mod">
          <ac:chgData name="Lorraine Claffey" userId="1f5c1c29-3b5a-472d-9a11-195d46ef3825" providerId="ADAL" clId="{D08AE3F1-2795-4EA5-B54D-F743BF43DF9F}" dt="2022-12-12T15:01:11.160" v="1592" actId="478"/>
          <ac:spMkLst>
            <pc:docMk/>
            <pc:sldMk cId="2333103964" sldId="820"/>
            <ac:spMk id="10" creationId="{FA9ABF44-0825-A2D4-FE42-48FAFF936AD3}"/>
          </ac:spMkLst>
        </pc:spChg>
        <pc:spChg chg="del mod">
          <ac:chgData name="Lorraine Claffey" userId="1f5c1c29-3b5a-472d-9a11-195d46ef3825" providerId="ADAL" clId="{D08AE3F1-2795-4EA5-B54D-F743BF43DF9F}" dt="2022-12-12T15:01:08.846" v="1590" actId="478"/>
          <ac:spMkLst>
            <pc:docMk/>
            <pc:sldMk cId="2333103964" sldId="820"/>
            <ac:spMk id="11" creationId="{DD921C2B-3964-84D0-E452-CD635EEB5248}"/>
          </ac:spMkLst>
        </pc:spChg>
        <pc:spChg chg="mod">
          <ac:chgData name="Lorraine Claffey" userId="1f5c1c29-3b5a-472d-9a11-195d46ef3825" providerId="ADAL" clId="{D08AE3F1-2795-4EA5-B54D-F743BF43DF9F}" dt="2022-12-12T15:03:07.146" v="1723" actId="6549"/>
          <ac:spMkLst>
            <pc:docMk/>
            <pc:sldMk cId="2333103964" sldId="820"/>
            <ac:spMk id="19" creationId="{FF4B61D0-9742-0F27-E0F9-FE81B769D6D7}"/>
          </ac:spMkLst>
        </pc:spChg>
      </pc:sldChg>
      <pc:sldChg chg="delSp modSp add mod">
        <pc:chgData name="Lorraine Claffey" userId="1f5c1c29-3b5a-472d-9a11-195d46ef3825" providerId="ADAL" clId="{D08AE3F1-2795-4EA5-B54D-F743BF43DF9F}" dt="2022-12-12T15:31:18.167" v="1857" actId="403"/>
        <pc:sldMkLst>
          <pc:docMk/>
          <pc:sldMk cId="3911612192" sldId="821"/>
        </pc:sldMkLst>
        <pc:spChg chg="del">
          <ac:chgData name="Lorraine Claffey" userId="1f5c1c29-3b5a-472d-9a11-195d46ef3825" providerId="ADAL" clId="{D08AE3F1-2795-4EA5-B54D-F743BF43DF9F}" dt="2022-12-12T15:08:16.883" v="1729" actId="478"/>
          <ac:spMkLst>
            <pc:docMk/>
            <pc:sldMk cId="3911612192" sldId="821"/>
            <ac:spMk id="4" creationId="{21A26CFC-E60C-BD97-07DB-8175068F2EA7}"/>
          </ac:spMkLst>
        </pc:spChg>
        <pc:spChg chg="del">
          <ac:chgData name="Lorraine Claffey" userId="1f5c1c29-3b5a-472d-9a11-195d46ef3825" providerId="ADAL" clId="{D08AE3F1-2795-4EA5-B54D-F743BF43DF9F}" dt="2022-12-12T15:08:14.021" v="1728" actId="478"/>
          <ac:spMkLst>
            <pc:docMk/>
            <pc:sldMk cId="3911612192" sldId="821"/>
            <ac:spMk id="8" creationId="{693CF914-4C27-50C9-793F-73EFDBDED1C2}"/>
          </ac:spMkLst>
        </pc:spChg>
        <pc:spChg chg="del">
          <ac:chgData name="Lorraine Claffey" userId="1f5c1c29-3b5a-472d-9a11-195d46ef3825" providerId="ADAL" clId="{D08AE3F1-2795-4EA5-B54D-F743BF43DF9F}" dt="2022-12-12T15:08:12.045" v="1727" actId="478"/>
          <ac:spMkLst>
            <pc:docMk/>
            <pc:sldMk cId="3911612192" sldId="821"/>
            <ac:spMk id="10" creationId="{FA9ABF44-0825-A2D4-FE42-48FAFF936AD3}"/>
          </ac:spMkLst>
        </pc:spChg>
        <pc:spChg chg="del">
          <ac:chgData name="Lorraine Claffey" userId="1f5c1c29-3b5a-472d-9a11-195d46ef3825" providerId="ADAL" clId="{D08AE3F1-2795-4EA5-B54D-F743BF43DF9F}" dt="2022-12-12T15:08:09.582" v="1726" actId="478"/>
          <ac:spMkLst>
            <pc:docMk/>
            <pc:sldMk cId="3911612192" sldId="821"/>
            <ac:spMk id="11" creationId="{DD921C2B-3964-84D0-E452-CD635EEB5248}"/>
          </ac:spMkLst>
        </pc:spChg>
        <pc:spChg chg="mod">
          <ac:chgData name="Lorraine Claffey" userId="1f5c1c29-3b5a-472d-9a11-195d46ef3825" providerId="ADAL" clId="{D08AE3F1-2795-4EA5-B54D-F743BF43DF9F}" dt="2022-12-12T15:31:18.167" v="1857" actId="403"/>
          <ac:spMkLst>
            <pc:docMk/>
            <pc:sldMk cId="3911612192" sldId="821"/>
            <ac:spMk id="19" creationId="{FF4B61D0-9742-0F27-E0F9-FE81B769D6D7}"/>
          </ac:spMkLst>
        </pc:spChg>
      </pc:sldChg>
      <pc:sldChg chg="addSp delSp modSp add mod">
        <pc:chgData name="Lorraine Claffey" userId="1f5c1c29-3b5a-472d-9a11-195d46ef3825" providerId="ADAL" clId="{D08AE3F1-2795-4EA5-B54D-F743BF43DF9F}" dt="2022-12-12T15:29:40.875" v="1809" actId="1076"/>
        <pc:sldMkLst>
          <pc:docMk/>
          <pc:sldMk cId="2389761233" sldId="822"/>
        </pc:sldMkLst>
        <pc:spChg chg="add del mod">
          <ac:chgData name="Lorraine Claffey" userId="1f5c1c29-3b5a-472d-9a11-195d46ef3825" providerId="ADAL" clId="{D08AE3F1-2795-4EA5-B54D-F743BF43DF9F}" dt="2022-12-12T15:20:16.702" v="1776" actId="478"/>
          <ac:spMkLst>
            <pc:docMk/>
            <pc:sldMk cId="2389761233" sldId="822"/>
            <ac:spMk id="3" creationId="{B1F3357D-D011-E93B-F9AD-C4F59BF5919A}"/>
          </ac:spMkLst>
        </pc:spChg>
        <pc:spChg chg="del mod">
          <ac:chgData name="Lorraine Claffey" userId="1f5c1c29-3b5a-472d-9a11-195d46ef3825" providerId="ADAL" clId="{D08AE3F1-2795-4EA5-B54D-F743BF43DF9F}" dt="2022-12-12T15:20:13.548" v="1775" actId="478"/>
          <ac:spMkLst>
            <pc:docMk/>
            <pc:sldMk cId="2389761233" sldId="822"/>
            <ac:spMk id="19" creationId="{FF4B61D0-9742-0F27-E0F9-FE81B769D6D7}"/>
          </ac:spMkLst>
        </pc:spChg>
        <pc:spChg chg="mod">
          <ac:chgData name="Lorraine Claffey" userId="1f5c1c29-3b5a-472d-9a11-195d46ef3825" providerId="ADAL" clId="{D08AE3F1-2795-4EA5-B54D-F743BF43DF9F}" dt="2022-12-12T15:20:25.171" v="1804" actId="20577"/>
          <ac:spMkLst>
            <pc:docMk/>
            <pc:sldMk cId="2389761233" sldId="822"/>
            <ac:spMk id="28" creationId="{86FAEDBE-A2EC-A957-4FA8-E5358331F5E4}"/>
          </ac:spMkLst>
        </pc:spChg>
        <pc:spChg chg="mod">
          <ac:chgData name="Lorraine Claffey" userId="1f5c1c29-3b5a-472d-9a11-195d46ef3825" providerId="ADAL" clId="{D08AE3F1-2795-4EA5-B54D-F743BF43DF9F}" dt="2022-12-12T15:20:09.014" v="1773" actId="20577"/>
          <ac:spMkLst>
            <pc:docMk/>
            <pc:sldMk cId="2389761233" sldId="822"/>
            <ac:spMk id="30" creationId="{FF3BCEE4-2A5B-76C0-B40D-28B345935E0B}"/>
          </ac:spMkLst>
        </pc:spChg>
        <pc:graphicFrameChg chg="add mod">
          <ac:chgData name="Lorraine Claffey" userId="1f5c1c29-3b5a-472d-9a11-195d46ef3825" providerId="ADAL" clId="{D08AE3F1-2795-4EA5-B54D-F743BF43DF9F}" dt="2022-12-12T15:29:40.875" v="1809" actId="1076"/>
          <ac:graphicFrameMkLst>
            <pc:docMk/>
            <pc:sldMk cId="2389761233" sldId="822"/>
            <ac:graphicFrameMk id="4" creationId="{E49B3F6D-1124-0664-BE33-390262D31E4C}"/>
          </ac:graphicFrameMkLst>
        </pc:graphicFrameChg>
      </pc:sldChg>
      <pc:sldChg chg="modSp add mod ord">
        <pc:chgData name="Lorraine Claffey" userId="1f5c1c29-3b5a-472d-9a11-195d46ef3825" providerId="ADAL" clId="{D08AE3F1-2795-4EA5-B54D-F743BF43DF9F}" dt="2022-12-12T15:31:32.204" v="1860" actId="1076"/>
        <pc:sldMkLst>
          <pc:docMk/>
          <pc:sldMk cId="243156262" sldId="823"/>
        </pc:sldMkLst>
        <pc:spChg chg="mod">
          <ac:chgData name="Lorraine Claffey" userId="1f5c1c29-3b5a-472d-9a11-195d46ef3825" providerId="ADAL" clId="{D08AE3F1-2795-4EA5-B54D-F743BF43DF9F}" dt="2022-12-12T15:31:32.204" v="1860" actId="1076"/>
          <ac:spMkLst>
            <pc:docMk/>
            <pc:sldMk cId="243156262" sldId="823"/>
            <ac:spMk id="19" creationId="{FF4B61D0-9742-0F27-E0F9-FE81B769D6D7}"/>
          </ac:spMkLst>
        </pc:spChg>
      </pc:sldChg>
      <pc:sldMasterChg chg="addSldLayout modSldLayout">
        <pc:chgData name="Lorraine Claffey" userId="1f5c1c29-3b5a-472d-9a11-195d46ef3825" providerId="ADAL" clId="{D08AE3F1-2795-4EA5-B54D-F743BF43DF9F}" dt="2022-12-01T11:10:44.109" v="10" actId="14100"/>
        <pc:sldMasterMkLst>
          <pc:docMk/>
          <pc:sldMasterMk cId="3966026126" sldId="2147483878"/>
        </pc:sldMasterMkLst>
        <pc:sldLayoutChg chg="addSp modSp add mod modTransition">
          <pc:chgData name="Lorraine Claffey" userId="1f5c1c29-3b5a-472d-9a11-195d46ef3825" providerId="ADAL" clId="{D08AE3F1-2795-4EA5-B54D-F743BF43DF9F}" dt="2022-12-01T11:10:44.109" v="10" actId="14100"/>
          <pc:sldLayoutMkLst>
            <pc:docMk/>
            <pc:sldMasterMk cId="3966026126" sldId="2147483878"/>
            <pc:sldLayoutMk cId="2239658699" sldId="2147483896"/>
          </pc:sldLayoutMkLst>
          <pc:spChg chg="mod">
            <ac:chgData name="Lorraine Claffey" userId="1f5c1c29-3b5a-472d-9a11-195d46ef3825" providerId="ADAL" clId="{D08AE3F1-2795-4EA5-B54D-F743BF43DF9F}" dt="2022-12-01T11:10:44.109" v="10" actId="14100"/>
            <ac:spMkLst>
              <pc:docMk/>
              <pc:sldMasterMk cId="3966026126" sldId="2147483878"/>
              <pc:sldLayoutMk cId="2239658699" sldId="2147483896"/>
              <ac:spMk id="16" creationId="{54E14D16-0860-4B41-EE2D-9C17F3F646C6}"/>
            </ac:spMkLst>
          </pc:spChg>
          <pc:picChg chg="add mod modCrop">
            <ac:chgData name="Lorraine Claffey" userId="1f5c1c29-3b5a-472d-9a11-195d46ef3825" providerId="ADAL" clId="{D08AE3F1-2795-4EA5-B54D-F743BF43DF9F}" dt="2022-12-01T11:09:42.422" v="5" actId="732"/>
            <ac:picMkLst>
              <pc:docMk/>
              <pc:sldMasterMk cId="3966026126" sldId="2147483878"/>
              <pc:sldLayoutMk cId="2239658699" sldId="2147483896"/>
              <ac:picMk id="2" creationId="{C787B0B9-89FE-442D-3BD8-D00A3210497E}"/>
            </ac:picMkLst>
          </pc:picChg>
          <pc:picChg chg="mod modCrop">
            <ac:chgData name="Lorraine Claffey" userId="1f5c1c29-3b5a-472d-9a11-195d46ef3825" providerId="ADAL" clId="{D08AE3F1-2795-4EA5-B54D-F743BF43DF9F}" dt="2022-12-01T11:08:41.565" v="2" actId="14100"/>
            <ac:picMkLst>
              <pc:docMk/>
              <pc:sldMasterMk cId="3966026126" sldId="2147483878"/>
              <pc:sldLayoutMk cId="2239658699" sldId="2147483896"/>
              <ac:picMk id="4" creationId="{B29A1F4E-1773-C23C-A77E-EF19B21E7C40}"/>
            </ac:picMkLst>
          </pc:picChg>
        </pc:sldLayoutChg>
      </pc:sldMasterChg>
    </pc:docChg>
  </pc:docChgLst>
  <pc:docChgLst>
    <pc:chgData name="Alba Glass" userId="8756ae06-73e2-48f4-80fe-49e9a0ac70ce" providerId="ADAL" clId="{AEBF1547-C7C8-43C9-813F-7F53E7BC1B36}"/>
    <pc:docChg chg="custSel modSld">
      <pc:chgData name="Alba Glass" userId="8756ae06-73e2-48f4-80fe-49e9a0ac70ce" providerId="ADAL" clId="{AEBF1547-C7C8-43C9-813F-7F53E7BC1B36}" dt="2022-12-14T15:24:57.638" v="0" actId="478"/>
      <pc:docMkLst>
        <pc:docMk/>
      </pc:docMkLst>
      <pc:sldChg chg="delSp mod">
        <pc:chgData name="Alba Glass" userId="8756ae06-73e2-48f4-80fe-49e9a0ac70ce" providerId="ADAL" clId="{AEBF1547-C7C8-43C9-813F-7F53E7BC1B36}" dt="2022-12-14T15:24:57.638" v="0" actId="478"/>
        <pc:sldMkLst>
          <pc:docMk/>
          <pc:sldMk cId="3153132616" sldId="256"/>
        </pc:sldMkLst>
        <pc:picChg chg="del">
          <ac:chgData name="Alba Glass" userId="8756ae06-73e2-48f4-80fe-49e9a0ac70ce" providerId="ADAL" clId="{AEBF1547-C7C8-43C9-813F-7F53E7BC1B36}" dt="2022-12-14T15:24:57.638" v="0" actId="478"/>
          <ac:picMkLst>
            <pc:docMk/>
            <pc:sldMk cId="3153132616" sldId="256"/>
            <ac:picMk id="4" creationId="{83928111-8AE9-BF65-7461-DC2C38FC3AE2}"/>
          </ac:picMkLst>
        </pc:picChg>
      </pc:sldChg>
    </pc:docChg>
  </pc:docChgLst>
  <pc:docChgLst>
    <pc:chgData name="Lorraine Claffey" userId="1f5c1c29-3b5a-472d-9a11-195d46ef3825" providerId="ADAL" clId="{0611D81D-378F-4F3B-9FD3-F47F684AD6EA}"/>
    <pc:docChg chg="custSel delSld modSld">
      <pc:chgData name="Lorraine Claffey" userId="1f5c1c29-3b5a-472d-9a11-195d46ef3825" providerId="ADAL" clId="{0611D81D-378F-4F3B-9FD3-F47F684AD6EA}" dt="2022-12-14T13:20:57.107" v="152" actId="47"/>
      <pc:docMkLst>
        <pc:docMk/>
      </pc:docMkLst>
      <pc:sldChg chg="addSp delSp modSp mod delAnim">
        <pc:chgData name="Lorraine Claffey" userId="1f5c1c29-3b5a-472d-9a11-195d46ef3825" providerId="ADAL" clId="{0611D81D-378F-4F3B-9FD3-F47F684AD6EA}" dt="2022-12-14T13:19:25.642" v="147" actId="1076"/>
        <pc:sldMkLst>
          <pc:docMk/>
          <pc:sldMk cId="3375986281" sldId="266"/>
        </pc:sldMkLst>
        <pc:spChg chg="add mod">
          <ac:chgData name="Lorraine Claffey" userId="1f5c1c29-3b5a-472d-9a11-195d46ef3825" providerId="ADAL" clId="{0611D81D-378F-4F3B-9FD3-F47F684AD6EA}" dt="2022-12-14T13:19:25.642" v="147" actId="1076"/>
          <ac:spMkLst>
            <pc:docMk/>
            <pc:sldMk cId="3375986281" sldId="266"/>
            <ac:spMk id="6" creationId="{CADD84D2-3E58-BA80-85B1-E98164287D16}"/>
          </ac:spMkLst>
        </pc:spChg>
        <pc:picChg chg="del">
          <ac:chgData name="Lorraine Claffey" userId="1f5c1c29-3b5a-472d-9a11-195d46ef3825" providerId="ADAL" clId="{0611D81D-378F-4F3B-9FD3-F47F684AD6EA}" dt="2022-12-14T12:21:15.750" v="0" actId="478"/>
          <ac:picMkLst>
            <pc:docMk/>
            <pc:sldMk cId="3375986281" sldId="266"/>
            <ac:picMk id="3" creationId="{A875F0C8-1C8C-5295-36D5-E9CDBCAEEDDC}"/>
          </ac:picMkLst>
        </pc:picChg>
        <pc:picChg chg="add mod">
          <ac:chgData name="Lorraine Claffey" userId="1f5c1c29-3b5a-472d-9a11-195d46ef3825" providerId="ADAL" clId="{0611D81D-378F-4F3B-9FD3-F47F684AD6EA}" dt="2022-12-14T13:17:49.042" v="134"/>
          <ac:picMkLst>
            <pc:docMk/>
            <pc:sldMk cId="3375986281" sldId="266"/>
            <ac:picMk id="5" creationId="{D5958EDF-6D72-1B13-1FF9-A2DB596FFF11}"/>
          </ac:picMkLst>
        </pc:picChg>
      </pc:sldChg>
      <pc:sldChg chg="delSp mod">
        <pc:chgData name="Lorraine Claffey" userId="1f5c1c29-3b5a-472d-9a11-195d46ef3825" providerId="ADAL" clId="{0611D81D-378F-4F3B-9FD3-F47F684AD6EA}" dt="2022-12-14T13:20:07.267" v="148" actId="478"/>
        <pc:sldMkLst>
          <pc:docMk/>
          <pc:sldMk cId="2389761233" sldId="822"/>
        </pc:sldMkLst>
        <pc:graphicFrameChg chg="del">
          <ac:chgData name="Lorraine Claffey" userId="1f5c1c29-3b5a-472d-9a11-195d46ef3825" providerId="ADAL" clId="{0611D81D-378F-4F3B-9FD3-F47F684AD6EA}" dt="2022-12-14T13:20:07.267" v="148" actId="478"/>
          <ac:graphicFrameMkLst>
            <pc:docMk/>
            <pc:sldMk cId="2389761233" sldId="822"/>
            <ac:graphicFrameMk id="4" creationId="{E49B3F6D-1124-0664-BE33-390262D31E4C}"/>
          </ac:graphicFrameMkLst>
        </pc:graphicFrameChg>
      </pc:sldChg>
      <pc:sldChg chg="del">
        <pc:chgData name="Lorraine Claffey" userId="1f5c1c29-3b5a-472d-9a11-195d46ef3825" providerId="ADAL" clId="{0611D81D-378F-4F3B-9FD3-F47F684AD6EA}" dt="2022-12-14T13:20:57.107" v="152" actId="47"/>
        <pc:sldMkLst>
          <pc:docMk/>
          <pc:sldMk cId="3169182066" sldId="824"/>
        </pc:sldMkLst>
      </pc:sldChg>
      <pc:sldChg chg="del">
        <pc:chgData name="Lorraine Claffey" userId="1f5c1c29-3b5a-472d-9a11-195d46ef3825" providerId="ADAL" clId="{0611D81D-378F-4F3B-9FD3-F47F684AD6EA}" dt="2022-12-14T13:20:16.254" v="149" actId="47"/>
        <pc:sldMkLst>
          <pc:docMk/>
          <pc:sldMk cId="3213374788" sldId="825"/>
        </pc:sldMkLst>
      </pc:sldChg>
      <pc:sldChg chg="del">
        <pc:chgData name="Lorraine Claffey" userId="1f5c1c29-3b5a-472d-9a11-195d46ef3825" providerId="ADAL" clId="{0611D81D-378F-4F3B-9FD3-F47F684AD6EA}" dt="2022-12-14T13:20:19.805" v="150" actId="47"/>
        <pc:sldMkLst>
          <pc:docMk/>
          <pc:sldMk cId="1202501075" sldId="826"/>
        </pc:sldMkLst>
      </pc:sldChg>
      <pc:sldChg chg="del">
        <pc:chgData name="Lorraine Claffey" userId="1f5c1c29-3b5a-472d-9a11-195d46ef3825" providerId="ADAL" clId="{0611D81D-378F-4F3B-9FD3-F47F684AD6EA}" dt="2022-12-14T13:20:27.929" v="151" actId="47"/>
        <pc:sldMkLst>
          <pc:docMk/>
          <pc:sldMk cId="2357939594" sldId="82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_323_9CE23B20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_325_DC577D28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441410931402174E-2"/>
          <c:y val="0.12687116480867594"/>
          <c:w val="0.85205383218676278"/>
          <c:h val="0.64731413188915843"/>
        </c:manualLayout>
      </c:layout>
      <c:lineChart>
        <c:grouping val="standard"/>
        <c:varyColors val="0"/>
        <c:ser>
          <c:idx val="0"/>
          <c:order val="0"/>
          <c:tx>
            <c:strRef>
              <c:f>Prices!$B$1</c:f>
              <c:strCache>
                <c:ptCount val="1"/>
                <c:pt idx="0">
                  <c:v>Power EEX DE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numRef>
              <c:f>Prices!$A$2:$A$482</c:f>
              <c:numCache>
                <c:formatCode>m/d/yyyy</c:formatCode>
                <c:ptCount val="481"/>
                <c:pt idx="0">
                  <c:v>44879</c:v>
                </c:pt>
                <c:pt idx="1">
                  <c:v>44876</c:v>
                </c:pt>
                <c:pt idx="2">
                  <c:v>44875</c:v>
                </c:pt>
                <c:pt idx="3">
                  <c:v>44874</c:v>
                </c:pt>
                <c:pt idx="4">
                  <c:v>44873</c:v>
                </c:pt>
                <c:pt idx="5">
                  <c:v>44872</c:v>
                </c:pt>
                <c:pt idx="6">
                  <c:v>44869</c:v>
                </c:pt>
                <c:pt idx="7">
                  <c:v>44868</c:v>
                </c:pt>
                <c:pt idx="8">
                  <c:v>44867</c:v>
                </c:pt>
                <c:pt idx="9">
                  <c:v>44866</c:v>
                </c:pt>
                <c:pt idx="10">
                  <c:v>44865</c:v>
                </c:pt>
                <c:pt idx="11">
                  <c:v>44862</c:v>
                </c:pt>
                <c:pt idx="12">
                  <c:v>44861</c:v>
                </c:pt>
                <c:pt idx="13">
                  <c:v>44860</c:v>
                </c:pt>
                <c:pt idx="14">
                  <c:v>44859</c:v>
                </c:pt>
                <c:pt idx="15">
                  <c:v>44858</c:v>
                </c:pt>
                <c:pt idx="16">
                  <c:v>44855</c:v>
                </c:pt>
                <c:pt idx="17">
                  <c:v>44854</c:v>
                </c:pt>
                <c:pt idx="18">
                  <c:v>44853</c:v>
                </c:pt>
                <c:pt idx="19">
                  <c:v>44852</c:v>
                </c:pt>
                <c:pt idx="20">
                  <c:v>44851</c:v>
                </c:pt>
                <c:pt idx="21">
                  <c:v>44848</c:v>
                </c:pt>
                <c:pt idx="22">
                  <c:v>44847</c:v>
                </c:pt>
                <c:pt idx="23">
                  <c:v>44846</c:v>
                </c:pt>
                <c:pt idx="24">
                  <c:v>44845</c:v>
                </c:pt>
                <c:pt idx="25">
                  <c:v>44844</c:v>
                </c:pt>
                <c:pt idx="26">
                  <c:v>44841</c:v>
                </c:pt>
                <c:pt idx="27">
                  <c:v>44840</c:v>
                </c:pt>
                <c:pt idx="28">
                  <c:v>44839</c:v>
                </c:pt>
                <c:pt idx="29">
                  <c:v>44838</c:v>
                </c:pt>
                <c:pt idx="30">
                  <c:v>44837</c:v>
                </c:pt>
                <c:pt idx="31">
                  <c:v>44834</c:v>
                </c:pt>
                <c:pt idx="32">
                  <c:v>44833</c:v>
                </c:pt>
                <c:pt idx="33">
                  <c:v>44832</c:v>
                </c:pt>
                <c:pt idx="34">
                  <c:v>44831</c:v>
                </c:pt>
                <c:pt idx="35">
                  <c:v>44830</c:v>
                </c:pt>
                <c:pt idx="36">
                  <c:v>44827</c:v>
                </c:pt>
                <c:pt idx="37">
                  <c:v>44826</c:v>
                </c:pt>
                <c:pt idx="38">
                  <c:v>44825</c:v>
                </c:pt>
                <c:pt idx="39">
                  <c:v>44824</c:v>
                </c:pt>
                <c:pt idx="40">
                  <c:v>44823</c:v>
                </c:pt>
                <c:pt idx="41">
                  <c:v>44820</c:v>
                </c:pt>
                <c:pt idx="42">
                  <c:v>44819</c:v>
                </c:pt>
                <c:pt idx="43">
                  <c:v>44818</c:v>
                </c:pt>
                <c:pt idx="44">
                  <c:v>44817</c:v>
                </c:pt>
                <c:pt idx="45">
                  <c:v>44816</c:v>
                </c:pt>
                <c:pt idx="46">
                  <c:v>44813</c:v>
                </c:pt>
                <c:pt idx="47">
                  <c:v>44812</c:v>
                </c:pt>
                <c:pt idx="48">
                  <c:v>44811</c:v>
                </c:pt>
                <c:pt idx="49">
                  <c:v>44810</c:v>
                </c:pt>
                <c:pt idx="50">
                  <c:v>44809</c:v>
                </c:pt>
                <c:pt idx="51">
                  <c:v>44806</c:v>
                </c:pt>
                <c:pt idx="52">
                  <c:v>44805</c:v>
                </c:pt>
                <c:pt idx="53">
                  <c:v>44804</c:v>
                </c:pt>
                <c:pt idx="54">
                  <c:v>44803</c:v>
                </c:pt>
                <c:pt idx="55">
                  <c:v>44802</c:v>
                </c:pt>
                <c:pt idx="56">
                  <c:v>44799</c:v>
                </c:pt>
                <c:pt idx="57">
                  <c:v>44798</c:v>
                </c:pt>
                <c:pt idx="58">
                  <c:v>44797</c:v>
                </c:pt>
                <c:pt idx="59">
                  <c:v>44796</c:v>
                </c:pt>
                <c:pt idx="60">
                  <c:v>44795</c:v>
                </c:pt>
                <c:pt idx="61">
                  <c:v>44792</c:v>
                </c:pt>
                <c:pt idx="62">
                  <c:v>44791</c:v>
                </c:pt>
                <c:pt idx="63">
                  <c:v>44790</c:v>
                </c:pt>
                <c:pt idx="64">
                  <c:v>44789</c:v>
                </c:pt>
                <c:pt idx="65">
                  <c:v>44788</c:v>
                </c:pt>
                <c:pt idx="66">
                  <c:v>44785</c:v>
                </c:pt>
                <c:pt idx="67">
                  <c:v>44784</c:v>
                </c:pt>
                <c:pt idx="68">
                  <c:v>44783</c:v>
                </c:pt>
                <c:pt idx="69">
                  <c:v>44782</c:v>
                </c:pt>
                <c:pt idx="70">
                  <c:v>44781</c:v>
                </c:pt>
                <c:pt idx="71">
                  <c:v>44778</c:v>
                </c:pt>
                <c:pt idx="72">
                  <c:v>44777</c:v>
                </c:pt>
                <c:pt idx="73">
                  <c:v>44776</c:v>
                </c:pt>
                <c:pt idx="74">
                  <c:v>44775</c:v>
                </c:pt>
                <c:pt idx="75">
                  <c:v>44774</c:v>
                </c:pt>
                <c:pt idx="76">
                  <c:v>44771</c:v>
                </c:pt>
                <c:pt idx="77">
                  <c:v>44770</c:v>
                </c:pt>
                <c:pt idx="78">
                  <c:v>44769</c:v>
                </c:pt>
                <c:pt idx="79">
                  <c:v>44768</c:v>
                </c:pt>
                <c:pt idx="80">
                  <c:v>44767</c:v>
                </c:pt>
                <c:pt idx="81">
                  <c:v>44764</c:v>
                </c:pt>
                <c:pt idx="82">
                  <c:v>44763</c:v>
                </c:pt>
                <c:pt idx="83">
                  <c:v>44762</c:v>
                </c:pt>
                <c:pt idx="84">
                  <c:v>44761</c:v>
                </c:pt>
                <c:pt idx="85">
                  <c:v>44760</c:v>
                </c:pt>
                <c:pt idx="86">
                  <c:v>44757</c:v>
                </c:pt>
                <c:pt idx="87">
                  <c:v>44756</c:v>
                </c:pt>
                <c:pt idx="88">
                  <c:v>44755</c:v>
                </c:pt>
                <c:pt idx="89">
                  <c:v>44754</c:v>
                </c:pt>
                <c:pt idx="90">
                  <c:v>44753</c:v>
                </c:pt>
                <c:pt idx="91">
                  <c:v>44750</c:v>
                </c:pt>
                <c:pt idx="92">
                  <c:v>44749</c:v>
                </c:pt>
                <c:pt idx="93">
                  <c:v>44748</c:v>
                </c:pt>
                <c:pt idx="94">
                  <c:v>44747</c:v>
                </c:pt>
                <c:pt idx="95">
                  <c:v>44746</c:v>
                </c:pt>
                <c:pt idx="96">
                  <c:v>44743</c:v>
                </c:pt>
                <c:pt idx="97">
                  <c:v>44742</c:v>
                </c:pt>
                <c:pt idx="98">
                  <c:v>44741</c:v>
                </c:pt>
                <c:pt idx="99">
                  <c:v>44740</c:v>
                </c:pt>
                <c:pt idx="100">
                  <c:v>44739</c:v>
                </c:pt>
                <c:pt idx="101">
                  <c:v>44736</c:v>
                </c:pt>
                <c:pt idx="102">
                  <c:v>44735</c:v>
                </c:pt>
                <c:pt idx="103">
                  <c:v>44734</c:v>
                </c:pt>
                <c:pt idx="104">
                  <c:v>44733</c:v>
                </c:pt>
                <c:pt idx="105">
                  <c:v>44732</c:v>
                </c:pt>
                <c:pt idx="106">
                  <c:v>44729</c:v>
                </c:pt>
                <c:pt idx="107">
                  <c:v>44728</c:v>
                </c:pt>
                <c:pt idx="108">
                  <c:v>44727</c:v>
                </c:pt>
                <c:pt idx="109">
                  <c:v>44726</c:v>
                </c:pt>
                <c:pt idx="110">
                  <c:v>44725</c:v>
                </c:pt>
                <c:pt idx="111">
                  <c:v>44722</c:v>
                </c:pt>
                <c:pt idx="112">
                  <c:v>44721</c:v>
                </c:pt>
                <c:pt idx="113">
                  <c:v>44720</c:v>
                </c:pt>
                <c:pt idx="114">
                  <c:v>44719</c:v>
                </c:pt>
                <c:pt idx="115">
                  <c:v>44718</c:v>
                </c:pt>
                <c:pt idx="116">
                  <c:v>44715</c:v>
                </c:pt>
                <c:pt idx="117">
                  <c:v>44714</c:v>
                </c:pt>
                <c:pt idx="118">
                  <c:v>44713</c:v>
                </c:pt>
                <c:pt idx="119">
                  <c:v>44712</c:v>
                </c:pt>
                <c:pt idx="120">
                  <c:v>44711</c:v>
                </c:pt>
                <c:pt idx="121">
                  <c:v>44708</c:v>
                </c:pt>
                <c:pt idx="122">
                  <c:v>44707</c:v>
                </c:pt>
                <c:pt idx="123">
                  <c:v>44706</c:v>
                </c:pt>
                <c:pt idx="124">
                  <c:v>44705</c:v>
                </c:pt>
                <c:pt idx="125">
                  <c:v>44704</c:v>
                </c:pt>
                <c:pt idx="126">
                  <c:v>44701</c:v>
                </c:pt>
                <c:pt idx="127">
                  <c:v>44700</c:v>
                </c:pt>
                <c:pt idx="128">
                  <c:v>44699</c:v>
                </c:pt>
                <c:pt idx="129">
                  <c:v>44698</c:v>
                </c:pt>
                <c:pt idx="130">
                  <c:v>44697</c:v>
                </c:pt>
                <c:pt idx="131">
                  <c:v>44694</c:v>
                </c:pt>
                <c:pt idx="132">
                  <c:v>44693</c:v>
                </c:pt>
                <c:pt idx="133">
                  <c:v>44692</c:v>
                </c:pt>
                <c:pt idx="134">
                  <c:v>44691</c:v>
                </c:pt>
                <c:pt idx="135">
                  <c:v>44690</c:v>
                </c:pt>
                <c:pt idx="136">
                  <c:v>44687</c:v>
                </c:pt>
                <c:pt idx="137">
                  <c:v>44686</c:v>
                </c:pt>
                <c:pt idx="138">
                  <c:v>44685</c:v>
                </c:pt>
                <c:pt idx="139">
                  <c:v>44684</c:v>
                </c:pt>
                <c:pt idx="140">
                  <c:v>44683</c:v>
                </c:pt>
                <c:pt idx="141">
                  <c:v>44680</c:v>
                </c:pt>
                <c:pt idx="142">
                  <c:v>44679</c:v>
                </c:pt>
                <c:pt idx="143">
                  <c:v>44678</c:v>
                </c:pt>
                <c:pt idx="144">
                  <c:v>44677</c:v>
                </c:pt>
                <c:pt idx="145">
                  <c:v>44676</c:v>
                </c:pt>
                <c:pt idx="146">
                  <c:v>44673</c:v>
                </c:pt>
                <c:pt idx="147">
                  <c:v>44672</c:v>
                </c:pt>
                <c:pt idx="148">
                  <c:v>44671</c:v>
                </c:pt>
                <c:pt idx="149">
                  <c:v>44670</c:v>
                </c:pt>
                <c:pt idx="150">
                  <c:v>44665</c:v>
                </c:pt>
                <c:pt idx="151">
                  <c:v>44664</c:v>
                </c:pt>
                <c:pt idx="152">
                  <c:v>44663</c:v>
                </c:pt>
                <c:pt idx="153">
                  <c:v>44662</c:v>
                </c:pt>
                <c:pt idx="154">
                  <c:v>44659</c:v>
                </c:pt>
                <c:pt idx="155">
                  <c:v>44658</c:v>
                </c:pt>
                <c:pt idx="156">
                  <c:v>44657</c:v>
                </c:pt>
                <c:pt idx="157">
                  <c:v>44656</c:v>
                </c:pt>
                <c:pt idx="158">
                  <c:v>44655</c:v>
                </c:pt>
                <c:pt idx="159">
                  <c:v>44652</c:v>
                </c:pt>
                <c:pt idx="160">
                  <c:v>44651</c:v>
                </c:pt>
                <c:pt idx="161">
                  <c:v>44650</c:v>
                </c:pt>
                <c:pt idx="162">
                  <c:v>44649</c:v>
                </c:pt>
                <c:pt idx="163">
                  <c:v>44648</c:v>
                </c:pt>
                <c:pt idx="164">
                  <c:v>44645</c:v>
                </c:pt>
                <c:pt idx="165">
                  <c:v>44644</c:v>
                </c:pt>
                <c:pt idx="166">
                  <c:v>44643</c:v>
                </c:pt>
                <c:pt idx="167">
                  <c:v>44642</c:v>
                </c:pt>
                <c:pt idx="168">
                  <c:v>44641</c:v>
                </c:pt>
                <c:pt idx="169">
                  <c:v>44638</c:v>
                </c:pt>
                <c:pt idx="170">
                  <c:v>44637</c:v>
                </c:pt>
                <c:pt idx="171">
                  <c:v>44636</c:v>
                </c:pt>
                <c:pt idx="172">
                  <c:v>44635</c:v>
                </c:pt>
                <c:pt idx="173">
                  <c:v>44634</c:v>
                </c:pt>
                <c:pt idx="174">
                  <c:v>44631</c:v>
                </c:pt>
                <c:pt idx="175">
                  <c:v>44630</c:v>
                </c:pt>
                <c:pt idx="176">
                  <c:v>44629</c:v>
                </c:pt>
                <c:pt idx="177">
                  <c:v>44628</c:v>
                </c:pt>
                <c:pt idx="178">
                  <c:v>44627</c:v>
                </c:pt>
                <c:pt idx="179">
                  <c:v>44624</c:v>
                </c:pt>
                <c:pt idx="180">
                  <c:v>44623</c:v>
                </c:pt>
                <c:pt idx="181">
                  <c:v>44622</c:v>
                </c:pt>
                <c:pt idx="182">
                  <c:v>44621</c:v>
                </c:pt>
                <c:pt idx="183">
                  <c:v>44620</c:v>
                </c:pt>
                <c:pt idx="184">
                  <c:v>44617</c:v>
                </c:pt>
                <c:pt idx="185">
                  <c:v>44616</c:v>
                </c:pt>
                <c:pt idx="186">
                  <c:v>44615</c:v>
                </c:pt>
                <c:pt idx="187">
                  <c:v>44614</c:v>
                </c:pt>
                <c:pt idx="188">
                  <c:v>44613</c:v>
                </c:pt>
                <c:pt idx="189">
                  <c:v>44610</c:v>
                </c:pt>
                <c:pt idx="190">
                  <c:v>44609</c:v>
                </c:pt>
                <c:pt idx="191">
                  <c:v>44608</c:v>
                </c:pt>
                <c:pt idx="192">
                  <c:v>44607</c:v>
                </c:pt>
                <c:pt idx="193">
                  <c:v>44606</c:v>
                </c:pt>
                <c:pt idx="194">
                  <c:v>44603</c:v>
                </c:pt>
                <c:pt idx="195">
                  <c:v>44602</c:v>
                </c:pt>
                <c:pt idx="196">
                  <c:v>44601</c:v>
                </c:pt>
                <c:pt idx="197">
                  <c:v>44600</c:v>
                </c:pt>
                <c:pt idx="198">
                  <c:v>44599</c:v>
                </c:pt>
                <c:pt idx="199">
                  <c:v>44596</c:v>
                </c:pt>
                <c:pt idx="200">
                  <c:v>44595</c:v>
                </c:pt>
                <c:pt idx="201">
                  <c:v>44594</c:v>
                </c:pt>
                <c:pt idx="202">
                  <c:v>44593</c:v>
                </c:pt>
                <c:pt idx="203">
                  <c:v>44592</c:v>
                </c:pt>
                <c:pt idx="204">
                  <c:v>44589</c:v>
                </c:pt>
                <c:pt idx="205">
                  <c:v>44588</c:v>
                </c:pt>
                <c:pt idx="206">
                  <c:v>44587</c:v>
                </c:pt>
                <c:pt idx="207">
                  <c:v>44586</c:v>
                </c:pt>
                <c:pt idx="208">
                  <c:v>44585</c:v>
                </c:pt>
                <c:pt idx="209">
                  <c:v>44582</c:v>
                </c:pt>
                <c:pt idx="210">
                  <c:v>44581</c:v>
                </c:pt>
                <c:pt idx="211">
                  <c:v>44580</c:v>
                </c:pt>
                <c:pt idx="212">
                  <c:v>44579</c:v>
                </c:pt>
                <c:pt idx="213">
                  <c:v>44578</c:v>
                </c:pt>
                <c:pt idx="214">
                  <c:v>44575</c:v>
                </c:pt>
                <c:pt idx="215">
                  <c:v>44574</c:v>
                </c:pt>
                <c:pt idx="216">
                  <c:v>44573</c:v>
                </c:pt>
                <c:pt idx="217">
                  <c:v>44572</c:v>
                </c:pt>
                <c:pt idx="218">
                  <c:v>44571</c:v>
                </c:pt>
                <c:pt idx="219">
                  <c:v>44568</c:v>
                </c:pt>
                <c:pt idx="220">
                  <c:v>44567</c:v>
                </c:pt>
                <c:pt idx="221">
                  <c:v>44566</c:v>
                </c:pt>
                <c:pt idx="222">
                  <c:v>44565</c:v>
                </c:pt>
                <c:pt idx="223">
                  <c:v>44564</c:v>
                </c:pt>
                <c:pt idx="224">
                  <c:v>44561</c:v>
                </c:pt>
                <c:pt idx="225">
                  <c:v>44560</c:v>
                </c:pt>
                <c:pt idx="226">
                  <c:v>44559</c:v>
                </c:pt>
                <c:pt idx="227">
                  <c:v>44558</c:v>
                </c:pt>
                <c:pt idx="228">
                  <c:v>44557</c:v>
                </c:pt>
                <c:pt idx="229">
                  <c:v>44554</c:v>
                </c:pt>
                <c:pt idx="230">
                  <c:v>44553</c:v>
                </c:pt>
                <c:pt idx="231">
                  <c:v>44552</c:v>
                </c:pt>
                <c:pt idx="232">
                  <c:v>44551</c:v>
                </c:pt>
                <c:pt idx="233">
                  <c:v>44550</c:v>
                </c:pt>
                <c:pt idx="234">
                  <c:v>44547</c:v>
                </c:pt>
                <c:pt idx="235">
                  <c:v>44546</c:v>
                </c:pt>
                <c:pt idx="236">
                  <c:v>44545</c:v>
                </c:pt>
                <c:pt idx="237">
                  <c:v>44544</c:v>
                </c:pt>
                <c:pt idx="238">
                  <c:v>44543</c:v>
                </c:pt>
                <c:pt idx="239">
                  <c:v>44540</c:v>
                </c:pt>
                <c:pt idx="240">
                  <c:v>44539</c:v>
                </c:pt>
                <c:pt idx="241">
                  <c:v>44538</c:v>
                </c:pt>
                <c:pt idx="242">
                  <c:v>44537</c:v>
                </c:pt>
                <c:pt idx="243">
                  <c:v>44536</c:v>
                </c:pt>
                <c:pt idx="244">
                  <c:v>44533</c:v>
                </c:pt>
                <c:pt idx="245">
                  <c:v>44532</c:v>
                </c:pt>
                <c:pt idx="246">
                  <c:v>44531</c:v>
                </c:pt>
                <c:pt idx="247">
                  <c:v>44530</c:v>
                </c:pt>
                <c:pt idx="248">
                  <c:v>44529</c:v>
                </c:pt>
                <c:pt idx="249">
                  <c:v>44526</c:v>
                </c:pt>
                <c:pt idx="250">
                  <c:v>44525</c:v>
                </c:pt>
                <c:pt idx="251">
                  <c:v>44524</c:v>
                </c:pt>
                <c:pt idx="252">
                  <c:v>44523</c:v>
                </c:pt>
                <c:pt idx="253">
                  <c:v>44522</c:v>
                </c:pt>
                <c:pt idx="254">
                  <c:v>44519</c:v>
                </c:pt>
                <c:pt idx="255">
                  <c:v>44518</c:v>
                </c:pt>
                <c:pt idx="256">
                  <c:v>44517</c:v>
                </c:pt>
                <c:pt idx="257">
                  <c:v>44516</c:v>
                </c:pt>
                <c:pt idx="258">
                  <c:v>44515</c:v>
                </c:pt>
                <c:pt idx="259">
                  <c:v>44512</c:v>
                </c:pt>
                <c:pt idx="260">
                  <c:v>44511</c:v>
                </c:pt>
                <c:pt idx="261">
                  <c:v>44510</c:v>
                </c:pt>
                <c:pt idx="262">
                  <c:v>44509</c:v>
                </c:pt>
                <c:pt idx="263">
                  <c:v>44508</c:v>
                </c:pt>
                <c:pt idx="264">
                  <c:v>44505</c:v>
                </c:pt>
                <c:pt idx="265">
                  <c:v>44504</c:v>
                </c:pt>
                <c:pt idx="266">
                  <c:v>44503</c:v>
                </c:pt>
                <c:pt idx="267">
                  <c:v>44502</c:v>
                </c:pt>
                <c:pt idx="268">
                  <c:v>44501</c:v>
                </c:pt>
                <c:pt idx="269">
                  <c:v>44498</c:v>
                </c:pt>
                <c:pt idx="270">
                  <c:v>44497</c:v>
                </c:pt>
                <c:pt idx="271">
                  <c:v>44496</c:v>
                </c:pt>
                <c:pt idx="272">
                  <c:v>44495</c:v>
                </c:pt>
                <c:pt idx="273">
                  <c:v>44494</c:v>
                </c:pt>
                <c:pt idx="274">
                  <c:v>44491</c:v>
                </c:pt>
                <c:pt idx="275">
                  <c:v>44490</c:v>
                </c:pt>
                <c:pt idx="276">
                  <c:v>44489</c:v>
                </c:pt>
                <c:pt idx="277">
                  <c:v>44488</c:v>
                </c:pt>
                <c:pt idx="278">
                  <c:v>44487</c:v>
                </c:pt>
                <c:pt idx="279">
                  <c:v>44484</c:v>
                </c:pt>
                <c:pt idx="280">
                  <c:v>44483</c:v>
                </c:pt>
                <c:pt idx="281">
                  <c:v>44482</c:v>
                </c:pt>
                <c:pt idx="282">
                  <c:v>44481</c:v>
                </c:pt>
                <c:pt idx="283">
                  <c:v>44480</c:v>
                </c:pt>
                <c:pt idx="284">
                  <c:v>44477</c:v>
                </c:pt>
                <c:pt idx="285">
                  <c:v>44476</c:v>
                </c:pt>
                <c:pt idx="286">
                  <c:v>44475</c:v>
                </c:pt>
                <c:pt idx="287">
                  <c:v>44474</c:v>
                </c:pt>
                <c:pt idx="288">
                  <c:v>44473</c:v>
                </c:pt>
                <c:pt idx="289">
                  <c:v>44470</c:v>
                </c:pt>
                <c:pt idx="290">
                  <c:v>44469</c:v>
                </c:pt>
                <c:pt idx="291">
                  <c:v>44468</c:v>
                </c:pt>
                <c:pt idx="292">
                  <c:v>44467</c:v>
                </c:pt>
                <c:pt idx="293">
                  <c:v>44466</c:v>
                </c:pt>
                <c:pt idx="294">
                  <c:v>44463</c:v>
                </c:pt>
                <c:pt idx="295">
                  <c:v>44462</c:v>
                </c:pt>
                <c:pt idx="296">
                  <c:v>44461</c:v>
                </c:pt>
                <c:pt idx="297">
                  <c:v>44460</c:v>
                </c:pt>
                <c:pt idx="298">
                  <c:v>44459</c:v>
                </c:pt>
                <c:pt idx="299">
                  <c:v>44456</c:v>
                </c:pt>
                <c:pt idx="300">
                  <c:v>44455</c:v>
                </c:pt>
                <c:pt idx="301">
                  <c:v>44454</c:v>
                </c:pt>
                <c:pt idx="302">
                  <c:v>44453</c:v>
                </c:pt>
                <c:pt idx="303">
                  <c:v>44452</c:v>
                </c:pt>
                <c:pt idx="304">
                  <c:v>44449</c:v>
                </c:pt>
                <c:pt idx="305">
                  <c:v>44448</c:v>
                </c:pt>
                <c:pt idx="306">
                  <c:v>44447</c:v>
                </c:pt>
                <c:pt idx="307">
                  <c:v>44446</c:v>
                </c:pt>
                <c:pt idx="308">
                  <c:v>44445</c:v>
                </c:pt>
                <c:pt idx="309">
                  <c:v>44442</c:v>
                </c:pt>
                <c:pt idx="310">
                  <c:v>44441</c:v>
                </c:pt>
                <c:pt idx="311">
                  <c:v>44440</c:v>
                </c:pt>
                <c:pt idx="312">
                  <c:v>44439</c:v>
                </c:pt>
                <c:pt idx="313">
                  <c:v>44438</c:v>
                </c:pt>
                <c:pt idx="314">
                  <c:v>44435</c:v>
                </c:pt>
                <c:pt idx="315">
                  <c:v>44434</c:v>
                </c:pt>
                <c:pt idx="316">
                  <c:v>44433</c:v>
                </c:pt>
                <c:pt idx="317">
                  <c:v>44432</c:v>
                </c:pt>
                <c:pt idx="318">
                  <c:v>44431</c:v>
                </c:pt>
                <c:pt idx="319">
                  <c:v>44428</c:v>
                </c:pt>
                <c:pt idx="320">
                  <c:v>44427</c:v>
                </c:pt>
                <c:pt idx="321">
                  <c:v>44426</c:v>
                </c:pt>
                <c:pt idx="322">
                  <c:v>44425</c:v>
                </c:pt>
                <c:pt idx="323">
                  <c:v>44424</c:v>
                </c:pt>
                <c:pt idx="324">
                  <c:v>44421</c:v>
                </c:pt>
                <c:pt idx="325">
                  <c:v>44420</c:v>
                </c:pt>
                <c:pt idx="326">
                  <c:v>44419</c:v>
                </c:pt>
                <c:pt idx="327">
                  <c:v>44418</c:v>
                </c:pt>
                <c:pt idx="328">
                  <c:v>44417</c:v>
                </c:pt>
                <c:pt idx="329">
                  <c:v>44414</c:v>
                </c:pt>
                <c:pt idx="330">
                  <c:v>44413</c:v>
                </c:pt>
                <c:pt idx="331">
                  <c:v>44412</c:v>
                </c:pt>
                <c:pt idx="332">
                  <c:v>44411</c:v>
                </c:pt>
                <c:pt idx="333">
                  <c:v>44410</c:v>
                </c:pt>
                <c:pt idx="334">
                  <c:v>44407</c:v>
                </c:pt>
                <c:pt idx="335">
                  <c:v>44406</c:v>
                </c:pt>
                <c:pt idx="336">
                  <c:v>44405</c:v>
                </c:pt>
                <c:pt idx="337">
                  <c:v>44404</c:v>
                </c:pt>
                <c:pt idx="338">
                  <c:v>44403</c:v>
                </c:pt>
                <c:pt idx="339">
                  <c:v>44400</c:v>
                </c:pt>
                <c:pt idx="340">
                  <c:v>44399</c:v>
                </c:pt>
                <c:pt idx="341">
                  <c:v>44398</c:v>
                </c:pt>
                <c:pt idx="342">
                  <c:v>44397</c:v>
                </c:pt>
                <c:pt idx="343">
                  <c:v>44396</c:v>
                </c:pt>
                <c:pt idx="344">
                  <c:v>44393</c:v>
                </c:pt>
                <c:pt idx="345">
                  <c:v>44392</c:v>
                </c:pt>
                <c:pt idx="346">
                  <c:v>44391</c:v>
                </c:pt>
                <c:pt idx="347">
                  <c:v>44390</c:v>
                </c:pt>
                <c:pt idx="348">
                  <c:v>44389</c:v>
                </c:pt>
                <c:pt idx="349">
                  <c:v>44386</c:v>
                </c:pt>
                <c:pt idx="350">
                  <c:v>44385</c:v>
                </c:pt>
                <c:pt idx="351">
                  <c:v>44384</c:v>
                </c:pt>
                <c:pt idx="352">
                  <c:v>44383</c:v>
                </c:pt>
                <c:pt idx="353">
                  <c:v>44382</c:v>
                </c:pt>
                <c:pt idx="354">
                  <c:v>44379</c:v>
                </c:pt>
                <c:pt idx="355">
                  <c:v>44378</c:v>
                </c:pt>
                <c:pt idx="356">
                  <c:v>44377</c:v>
                </c:pt>
                <c:pt idx="357">
                  <c:v>44376</c:v>
                </c:pt>
                <c:pt idx="358">
                  <c:v>44375</c:v>
                </c:pt>
                <c:pt idx="359">
                  <c:v>44372</c:v>
                </c:pt>
                <c:pt idx="360">
                  <c:v>44371</c:v>
                </c:pt>
                <c:pt idx="361">
                  <c:v>44370</c:v>
                </c:pt>
                <c:pt idx="362">
                  <c:v>44369</c:v>
                </c:pt>
                <c:pt idx="363">
                  <c:v>44368</c:v>
                </c:pt>
                <c:pt idx="364">
                  <c:v>44365</c:v>
                </c:pt>
                <c:pt idx="365">
                  <c:v>44364</c:v>
                </c:pt>
                <c:pt idx="366">
                  <c:v>44363</c:v>
                </c:pt>
                <c:pt idx="367">
                  <c:v>44362</c:v>
                </c:pt>
                <c:pt idx="368">
                  <c:v>44361</c:v>
                </c:pt>
                <c:pt idx="369">
                  <c:v>44358</c:v>
                </c:pt>
                <c:pt idx="370">
                  <c:v>44357</c:v>
                </c:pt>
                <c:pt idx="371">
                  <c:v>44356</c:v>
                </c:pt>
                <c:pt idx="372">
                  <c:v>44355</c:v>
                </c:pt>
                <c:pt idx="373">
                  <c:v>44354</c:v>
                </c:pt>
                <c:pt idx="374">
                  <c:v>44351</c:v>
                </c:pt>
                <c:pt idx="375">
                  <c:v>44350</c:v>
                </c:pt>
                <c:pt idx="376">
                  <c:v>44349</c:v>
                </c:pt>
                <c:pt idx="377">
                  <c:v>44348</c:v>
                </c:pt>
                <c:pt idx="378">
                  <c:v>44347</c:v>
                </c:pt>
                <c:pt idx="379">
                  <c:v>44344</c:v>
                </c:pt>
                <c:pt idx="380">
                  <c:v>44343</c:v>
                </c:pt>
                <c:pt idx="381">
                  <c:v>44342</c:v>
                </c:pt>
                <c:pt idx="382">
                  <c:v>44341</c:v>
                </c:pt>
                <c:pt idx="383">
                  <c:v>44340</c:v>
                </c:pt>
                <c:pt idx="384">
                  <c:v>44337</c:v>
                </c:pt>
                <c:pt idx="385">
                  <c:v>44336</c:v>
                </c:pt>
                <c:pt idx="386">
                  <c:v>44335</c:v>
                </c:pt>
                <c:pt idx="387">
                  <c:v>44334</c:v>
                </c:pt>
                <c:pt idx="388">
                  <c:v>44333</c:v>
                </c:pt>
                <c:pt idx="389">
                  <c:v>44330</c:v>
                </c:pt>
                <c:pt idx="390">
                  <c:v>44329</c:v>
                </c:pt>
                <c:pt idx="391">
                  <c:v>44328</c:v>
                </c:pt>
                <c:pt idx="392">
                  <c:v>44327</c:v>
                </c:pt>
                <c:pt idx="393">
                  <c:v>44326</c:v>
                </c:pt>
                <c:pt idx="394">
                  <c:v>44323</c:v>
                </c:pt>
                <c:pt idx="395">
                  <c:v>44322</c:v>
                </c:pt>
                <c:pt idx="396">
                  <c:v>44321</c:v>
                </c:pt>
                <c:pt idx="397">
                  <c:v>44320</c:v>
                </c:pt>
                <c:pt idx="398">
                  <c:v>44319</c:v>
                </c:pt>
                <c:pt idx="399">
                  <c:v>44316</c:v>
                </c:pt>
                <c:pt idx="400">
                  <c:v>44315</c:v>
                </c:pt>
                <c:pt idx="401">
                  <c:v>44314</c:v>
                </c:pt>
                <c:pt idx="402">
                  <c:v>44313</c:v>
                </c:pt>
                <c:pt idx="403">
                  <c:v>44312</c:v>
                </c:pt>
                <c:pt idx="404">
                  <c:v>44309</c:v>
                </c:pt>
                <c:pt idx="405">
                  <c:v>44308</c:v>
                </c:pt>
                <c:pt idx="406">
                  <c:v>44307</c:v>
                </c:pt>
                <c:pt idx="407">
                  <c:v>44306</c:v>
                </c:pt>
                <c:pt idx="408">
                  <c:v>44305</c:v>
                </c:pt>
                <c:pt idx="409">
                  <c:v>44302</c:v>
                </c:pt>
                <c:pt idx="410">
                  <c:v>44301</c:v>
                </c:pt>
                <c:pt idx="411">
                  <c:v>44300</c:v>
                </c:pt>
                <c:pt idx="412">
                  <c:v>44299</c:v>
                </c:pt>
                <c:pt idx="413">
                  <c:v>44298</c:v>
                </c:pt>
                <c:pt idx="414">
                  <c:v>44295</c:v>
                </c:pt>
                <c:pt idx="415">
                  <c:v>44294</c:v>
                </c:pt>
                <c:pt idx="416">
                  <c:v>44293</c:v>
                </c:pt>
                <c:pt idx="417">
                  <c:v>44292</c:v>
                </c:pt>
                <c:pt idx="418">
                  <c:v>44287</c:v>
                </c:pt>
                <c:pt idx="419">
                  <c:v>44286</c:v>
                </c:pt>
                <c:pt idx="420">
                  <c:v>44285</c:v>
                </c:pt>
                <c:pt idx="421">
                  <c:v>44284</c:v>
                </c:pt>
                <c:pt idx="422">
                  <c:v>44281</c:v>
                </c:pt>
                <c:pt idx="423">
                  <c:v>44280</c:v>
                </c:pt>
                <c:pt idx="424">
                  <c:v>44279</c:v>
                </c:pt>
                <c:pt idx="425">
                  <c:v>44278</c:v>
                </c:pt>
                <c:pt idx="426">
                  <c:v>44277</c:v>
                </c:pt>
                <c:pt idx="427">
                  <c:v>44274</c:v>
                </c:pt>
                <c:pt idx="428">
                  <c:v>44273</c:v>
                </c:pt>
                <c:pt idx="429">
                  <c:v>44272</c:v>
                </c:pt>
                <c:pt idx="430">
                  <c:v>44271</c:v>
                </c:pt>
                <c:pt idx="431">
                  <c:v>44270</c:v>
                </c:pt>
                <c:pt idx="432">
                  <c:v>44267</c:v>
                </c:pt>
                <c:pt idx="433">
                  <c:v>44266</c:v>
                </c:pt>
                <c:pt idx="434">
                  <c:v>44265</c:v>
                </c:pt>
                <c:pt idx="435">
                  <c:v>44264</c:v>
                </c:pt>
                <c:pt idx="436">
                  <c:v>44263</c:v>
                </c:pt>
                <c:pt idx="437">
                  <c:v>44260</c:v>
                </c:pt>
                <c:pt idx="438">
                  <c:v>44259</c:v>
                </c:pt>
                <c:pt idx="439">
                  <c:v>44258</c:v>
                </c:pt>
                <c:pt idx="440">
                  <c:v>44257</c:v>
                </c:pt>
                <c:pt idx="441">
                  <c:v>44256</c:v>
                </c:pt>
                <c:pt idx="442">
                  <c:v>44253</c:v>
                </c:pt>
                <c:pt idx="443">
                  <c:v>44252</c:v>
                </c:pt>
                <c:pt idx="444">
                  <c:v>44251</c:v>
                </c:pt>
                <c:pt idx="445">
                  <c:v>44250</c:v>
                </c:pt>
                <c:pt idx="446">
                  <c:v>44249</c:v>
                </c:pt>
                <c:pt idx="447">
                  <c:v>44246</c:v>
                </c:pt>
                <c:pt idx="448">
                  <c:v>44245</c:v>
                </c:pt>
                <c:pt idx="449">
                  <c:v>44244</c:v>
                </c:pt>
                <c:pt idx="450">
                  <c:v>44243</c:v>
                </c:pt>
                <c:pt idx="451">
                  <c:v>44242</c:v>
                </c:pt>
                <c:pt idx="452">
                  <c:v>44239</c:v>
                </c:pt>
                <c:pt idx="453">
                  <c:v>44238</c:v>
                </c:pt>
                <c:pt idx="454">
                  <c:v>44237</c:v>
                </c:pt>
                <c:pt idx="455">
                  <c:v>44236</c:v>
                </c:pt>
                <c:pt idx="456">
                  <c:v>44235</c:v>
                </c:pt>
                <c:pt idx="457">
                  <c:v>44232</c:v>
                </c:pt>
                <c:pt idx="458">
                  <c:v>44231</c:v>
                </c:pt>
                <c:pt idx="459">
                  <c:v>44230</c:v>
                </c:pt>
                <c:pt idx="460">
                  <c:v>44229</c:v>
                </c:pt>
                <c:pt idx="461">
                  <c:v>44228</c:v>
                </c:pt>
                <c:pt idx="462">
                  <c:v>44225</c:v>
                </c:pt>
                <c:pt idx="463">
                  <c:v>44224</c:v>
                </c:pt>
                <c:pt idx="464">
                  <c:v>44223</c:v>
                </c:pt>
                <c:pt idx="465">
                  <c:v>44222</c:v>
                </c:pt>
                <c:pt idx="466">
                  <c:v>44221</c:v>
                </c:pt>
                <c:pt idx="467">
                  <c:v>44218</c:v>
                </c:pt>
                <c:pt idx="468">
                  <c:v>44217</c:v>
                </c:pt>
                <c:pt idx="469">
                  <c:v>44216</c:v>
                </c:pt>
                <c:pt idx="470">
                  <c:v>44215</c:v>
                </c:pt>
                <c:pt idx="471">
                  <c:v>44214</c:v>
                </c:pt>
                <c:pt idx="472">
                  <c:v>44211</c:v>
                </c:pt>
                <c:pt idx="473">
                  <c:v>44210</c:v>
                </c:pt>
                <c:pt idx="474">
                  <c:v>44209</c:v>
                </c:pt>
                <c:pt idx="475">
                  <c:v>44208</c:v>
                </c:pt>
                <c:pt idx="476">
                  <c:v>44207</c:v>
                </c:pt>
                <c:pt idx="477">
                  <c:v>44204</c:v>
                </c:pt>
                <c:pt idx="478">
                  <c:v>44203</c:v>
                </c:pt>
                <c:pt idx="479">
                  <c:v>44202</c:v>
                </c:pt>
                <c:pt idx="480">
                  <c:v>44201</c:v>
                </c:pt>
              </c:numCache>
            </c:numRef>
          </c:cat>
          <c:val>
            <c:numRef>
              <c:f>Prices!$B$2:$B$482</c:f>
              <c:numCache>
                <c:formatCode>General</c:formatCode>
                <c:ptCount val="481"/>
                <c:pt idx="0">
                  <c:v>232.13</c:v>
                </c:pt>
                <c:pt idx="1">
                  <c:v>220.25</c:v>
                </c:pt>
                <c:pt idx="2">
                  <c:v>251.65</c:v>
                </c:pt>
                <c:pt idx="3">
                  <c:v>257.89999999999998</c:v>
                </c:pt>
                <c:pt idx="4">
                  <c:v>266.39999999999998</c:v>
                </c:pt>
                <c:pt idx="5">
                  <c:v>256.85000000000002</c:v>
                </c:pt>
                <c:pt idx="6">
                  <c:v>282.45999999999998</c:v>
                </c:pt>
                <c:pt idx="7">
                  <c:v>295.85000000000002</c:v>
                </c:pt>
                <c:pt idx="8">
                  <c:v>296.92</c:v>
                </c:pt>
                <c:pt idx="9">
                  <c:v>288.08999999999997</c:v>
                </c:pt>
                <c:pt idx="10">
                  <c:v>207.63</c:v>
                </c:pt>
                <c:pt idx="11">
                  <c:v>266</c:v>
                </c:pt>
                <c:pt idx="12">
                  <c:v>253.51</c:v>
                </c:pt>
                <c:pt idx="13">
                  <c:v>237.04</c:v>
                </c:pt>
                <c:pt idx="14">
                  <c:v>240.1</c:v>
                </c:pt>
                <c:pt idx="15">
                  <c:v>243.44</c:v>
                </c:pt>
                <c:pt idx="16">
                  <c:v>266.18</c:v>
                </c:pt>
                <c:pt idx="17">
                  <c:v>290.10000000000002</c:v>
                </c:pt>
                <c:pt idx="18">
                  <c:v>270.41000000000003</c:v>
                </c:pt>
                <c:pt idx="19">
                  <c:v>267.64</c:v>
                </c:pt>
                <c:pt idx="20">
                  <c:v>290.41000000000003</c:v>
                </c:pt>
                <c:pt idx="21">
                  <c:v>325.32</c:v>
                </c:pt>
                <c:pt idx="22">
                  <c:v>336.63</c:v>
                </c:pt>
                <c:pt idx="23">
                  <c:v>341.97</c:v>
                </c:pt>
                <c:pt idx="24">
                  <c:v>345.31</c:v>
                </c:pt>
                <c:pt idx="25">
                  <c:v>344.89</c:v>
                </c:pt>
                <c:pt idx="26">
                  <c:v>358.55</c:v>
                </c:pt>
                <c:pt idx="27">
                  <c:v>385.22</c:v>
                </c:pt>
                <c:pt idx="28">
                  <c:v>385.99</c:v>
                </c:pt>
                <c:pt idx="29">
                  <c:v>368.21</c:v>
                </c:pt>
                <c:pt idx="30">
                  <c:v>386.94</c:v>
                </c:pt>
                <c:pt idx="31">
                  <c:v>288.33</c:v>
                </c:pt>
                <c:pt idx="32">
                  <c:v>331.12</c:v>
                </c:pt>
                <c:pt idx="33">
                  <c:v>364.03</c:v>
                </c:pt>
                <c:pt idx="34">
                  <c:v>340.59</c:v>
                </c:pt>
                <c:pt idx="35">
                  <c:v>327</c:v>
                </c:pt>
                <c:pt idx="36">
                  <c:v>337.14</c:v>
                </c:pt>
                <c:pt idx="37">
                  <c:v>365.61</c:v>
                </c:pt>
                <c:pt idx="38">
                  <c:v>370.87</c:v>
                </c:pt>
                <c:pt idx="39">
                  <c:v>350.95</c:v>
                </c:pt>
                <c:pt idx="40">
                  <c:v>352.09</c:v>
                </c:pt>
                <c:pt idx="41">
                  <c:v>372.5</c:v>
                </c:pt>
                <c:pt idx="42">
                  <c:v>423.14</c:v>
                </c:pt>
                <c:pt idx="43">
                  <c:v>424.32</c:v>
                </c:pt>
                <c:pt idx="44">
                  <c:v>383.23</c:v>
                </c:pt>
                <c:pt idx="45">
                  <c:v>382.87</c:v>
                </c:pt>
                <c:pt idx="46">
                  <c:v>405.4</c:v>
                </c:pt>
                <c:pt idx="47">
                  <c:v>418.74</c:v>
                </c:pt>
                <c:pt idx="48">
                  <c:v>441</c:v>
                </c:pt>
                <c:pt idx="49">
                  <c:v>452.07</c:v>
                </c:pt>
                <c:pt idx="50">
                  <c:v>493.21</c:v>
                </c:pt>
                <c:pt idx="51">
                  <c:v>455.6</c:v>
                </c:pt>
                <c:pt idx="52">
                  <c:v>484.47</c:v>
                </c:pt>
                <c:pt idx="53">
                  <c:v>464</c:v>
                </c:pt>
                <c:pt idx="54">
                  <c:v>519.27</c:v>
                </c:pt>
                <c:pt idx="55">
                  <c:v>566</c:v>
                </c:pt>
                <c:pt idx="56">
                  <c:v>670</c:v>
                </c:pt>
                <c:pt idx="57">
                  <c:v>621.5</c:v>
                </c:pt>
                <c:pt idx="58">
                  <c:v>572.77</c:v>
                </c:pt>
                <c:pt idx="59">
                  <c:v>550.55999999999995</c:v>
                </c:pt>
                <c:pt idx="60">
                  <c:v>553.53</c:v>
                </c:pt>
                <c:pt idx="61">
                  <c:v>503.24</c:v>
                </c:pt>
                <c:pt idx="62">
                  <c:v>503.52</c:v>
                </c:pt>
                <c:pt idx="63">
                  <c:v>478.42</c:v>
                </c:pt>
                <c:pt idx="64">
                  <c:v>471.56</c:v>
                </c:pt>
                <c:pt idx="65">
                  <c:v>433.12</c:v>
                </c:pt>
                <c:pt idx="66">
                  <c:v>416.88</c:v>
                </c:pt>
                <c:pt idx="67">
                  <c:v>426.74</c:v>
                </c:pt>
                <c:pt idx="68">
                  <c:v>416.51</c:v>
                </c:pt>
                <c:pt idx="69">
                  <c:v>386.48</c:v>
                </c:pt>
                <c:pt idx="70">
                  <c:v>393.45</c:v>
                </c:pt>
                <c:pt idx="71">
                  <c:v>403.34</c:v>
                </c:pt>
                <c:pt idx="72">
                  <c:v>412.71</c:v>
                </c:pt>
                <c:pt idx="73">
                  <c:v>415.08</c:v>
                </c:pt>
                <c:pt idx="74">
                  <c:v>422.21</c:v>
                </c:pt>
                <c:pt idx="75">
                  <c:v>410.22</c:v>
                </c:pt>
                <c:pt idx="76">
                  <c:v>381.41</c:v>
                </c:pt>
                <c:pt idx="77">
                  <c:v>404.66</c:v>
                </c:pt>
                <c:pt idx="78">
                  <c:v>413.81</c:v>
                </c:pt>
                <c:pt idx="79">
                  <c:v>396.25</c:v>
                </c:pt>
                <c:pt idx="80">
                  <c:v>351.42</c:v>
                </c:pt>
                <c:pt idx="81">
                  <c:v>338.08</c:v>
                </c:pt>
                <c:pt idx="82">
                  <c:v>316.08</c:v>
                </c:pt>
                <c:pt idx="83">
                  <c:v>314.06</c:v>
                </c:pt>
                <c:pt idx="84">
                  <c:v>327.55</c:v>
                </c:pt>
                <c:pt idx="85">
                  <c:v>335</c:v>
                </c:pt>
                <c:pt idx="86">
                  <c:v>342.97</c:v>
                </c:pt>
                <c:pt idx="87">
                  <c:v>371.71</c:v>
                </c:pt>
                <c:pt idx="88">
                  <c:v>369.18</c:v>
                </c:pt>
                <c:pt idx="89">
                  <c:v>364.39</c:v>
                </c:pt>
                <c:pt idx="90">
                  <c:v>364.11</c:v>
                </c:pt>
                <c:pt idx="91">
                  <c:v>374.11</c:v>
                </c:pt>
                <c:pt idx="92">
                  <c:v>401.93</c:v>
                </c:pt>
                <c:pt idx="93">
                  <c:v>361.98</c:v>
                </c:pt>
                <c:pt idx="94">
                  <c:v>344.17</c:v>
                </c:pt>
                <c:pt idx="95">
                  <c:v>333.95</c:v>
                </c:pt>
                <c:pt idx="96">
                  <c:v>304.83999999999997</c:v>
                </c:pt>
                <c:pt idx="97">
                  <c:v>292.25</c:v>
                </c:pt>
                <c:pt idx="98">
                  <c:v>286.17</c:v>
                </c:pt>
                <c:pt idx="99">
                  <c:v>273.45999999999998</c:v>
                </c:pt>
                <c:pt idx="100">
                  <c:v>273.99</c:v>
                </c:pt>
                <c:pt idx="101">
                  <c:v>275.89</c:v>
                </c:pt>
                <c:pt idx="102">
                  <c:v>287</c:v>
                </c:pt>
                <c:pt idx="103">
                  <c:v>274.51</c:v>
                </c:pt>
                <c:pt idx="104">
                  <c:v>264.39</c:v>
                </c:pt>
                <c:pt idx="105">
                  <c:v>256.93</c:v>
                </c:pt>
                <c:pt idx="106">
                  <c:v>247.91</c:v>
                </c:pt>
                <c:pt idx="107">
                  <c:v>272.69</c:v>
                </c:pt>
                <c:pt idx="108">
                  <c:v>236</c:v>
                </c:pt>
                <c:pt idx="109">
                  <c:v>204.05</c:v>
                </c:pt>
                <c:pt idx="110">
                  <c:v>181.7</c:v>
                </c:pt>
                <c:pt idx="111">
                  <c:v>182.19</c:v>
                </c:pt>
                <c:pt idx="112">
                  <c:v>185.5</c:v>
                </c:pt>
                <c:pt idx="113">
                  <c:v>175.6</c:v>
                </c:pt>
                <c:pt idx="114">
                  <c:v>180.98</c:v>
                </c:pt>
                <c:pt idx="115">
                  <c:v>185.56</c:v>
                </c:pt>
                <c:pt idx="116">
                  <c:v>188.73</c:v>
                </c:pt>
                <c:pt idx="117">
                  <c:v>190.01</c:v>
                </c:pt>
                <c:pt idx="118">
                  <c:v>197.39</c:v>
                </c:pt>
                <c:pt idx="119">
                  <c:v>195.17</c:v>
                </c:pt>
                <c:pt idx="120">
                  <c:v>186.03</c:v>
                </c:pt>
                <c:pt idx="121">
                  <c:v>183.5</c:v>
                </c:pt>
                <c:pt idx="122">
                  <c:v>184.88</c:v>
                </c:pt>
                <c:pt idx="123">
                  <c:v>185.04</c:v>
                </c:pt>
                <c:pt idx="124">
                  <c:v>184.65</c:v>
                </c:pt>
                <c:pt idx="125">
                  <c:v>184.3</c:v>
                </c:pt>
                <c:pt idx="126">
                  <c:v>191.42</c:v>
                </c:pt>
                <c:pt idx="127">
                  <c:v>192.7</c:v>
                </c:pt>
                <c:pt idx="128">
                  <c:v>198.5</c:v>
                </c:pt>
                <c:pt idx="129">
                  <c:v>202</c:v>
                </c:pt>
                <c:pt idx="130">
                  <c:v>198.83</c:v>
                </c:pt>
                <c:pt idx="131">
                  <c:v>206.81</c:v>
                </c:pt>
                <c:pt idx="132">
                  <c:v>218.66</c:v>
                </c:pt>
                <c:pt idx="133">
                  <c:v>198.67</c:v>
                </c:pt>
                <c:pt idx="134">
                  <c:v>191.81</c:v>
                </c:pt>
                <c:pt idx="135">
                  <c:v>198.3</c:v>
                </c:pt>
                <c:pt idx="136">
                  <c:v>209.5</c:v>
                </c:pt>
                <c:pt idx="137">
                  <c:v>218.99</c:v>
                </c:pt>
                <c:pt idx="138">
                  <c:v>214.47</c:v>
                </c:pt>
                <c:pt idx="139">
                  <c:v>204.96</c:v>
                </c:pt>
                <c:pt idx="140">
                  <c:v>201.5</c:v>
                </c:pt>
                <c:pt idx="141">
                  <c:v>206.13</c:v>
                </c:pt>
                <c:pt idx="142">
                  <c:v>205</c:v>
                </c:pt>
                <c:pt idx="143">
                  <c:v>215.25</c:v>
                </c:pt>
                <c:pt idx="144">
                  <c:v>192.55</c:v>
                </c:pt>
                <c:pt idx="145">
                  <c:v>202.46</c:v>
                </c:pt>
                <c:pt idx="146">
                  <c:v>205.14</c:v>
                </c:pt>
                <c:pt idx="147">
                  <c:v>209.5</c:v>
                </c:pt>
                <c:pt idx="148">
                  <c:v>207.13</c:v>
                </c:pt>
                <c:pt idx="149">
                  <c:v>205.02</c:v>
                </c:pt>
                <c:pt idx="150">
                  <c:v>210.5</c:v>
                </c:pt>
                <c:pt idx="151">
                  <c:v>219.07</c:v>
                </c:pt>
                <c:pt idx="152">
                  <c:v>216.75</c:v>
                </c:pt>
                <c:pt idx="153">
                  <c:v>216.4</c:v>
                </c:pt>
                <c:pt idx="154">
                  <c:v>228.8</c:v>
                </c:pt>
                <c:pt idx="155">
                  <c:v>224.43</c:v>
                </c:pt>
                <c:pt idx="156">
                  <c:v>230.5</c:v>
                </c:pt>
                <c:pt idx="157">
                  <c:v>229.43</c:v>
                </c:pt>
                <c:pt idx="158">
                  <c:v>231.21</c:v>
                </c:pt>
                <c:pt idx="159">
                  <c:v>256.45</c:v>
                </c:pt>
                <c:pt idx="160">
                  <c:v>233.09</c:v>
                </c:pt>
                <c:pt idx="161">
                  <c:v>242.95</c:v>
                </c:pt>
                <c:pt idx="162">
                  <c:v>236.41</c:v>
                </c:pt>
                <c:pt idx="163">
                  <c:v>224</c:v>
                </c:pt>
                <c:pt idx="164">
                  <c:v>218.79</c:v>
                </c:pt>
                <c:pt idx="165">
                  <c:v>231.67</c:v>
                </c:pt>
                <c:pt idx="166">
                  <c:v>242.39</c:v>
                </c:pt>
                <c:pt idx="167">
                  <c:v>204.86</c:v>
                </c:pt>
                <c:pt idx="168">
                  <c:v>201.77</c:v>
                </c:pt>
                <c:pt idx="169">
                  <c:v>219.93</c:v>
                </c:pt>
                <c:pt idx="170">
                  <c:v>227.35</c:v>
                </c:pt>
                <c:pt idx="171">
                  <c:v>226.89</c:v>
                </c:pt>
                <c:pt idx="172">
                  <c:v>254.59</c:v>
                </c:pt>
                <c:pt idx="173">
                  <c:v>246.52</c:v>
                </c:pt>
                <c:pt idx="174">
                  <c:v>282.63</c:v>
                </c:pt>
                <c:pt idx="175">
                  <c:v>298.99</c:v>
                </c:pt>
                <c:pt idx="176">
                  <c:v>336.58</c:v>
                </c:pt>
                <c:pt idx="177">
                  <c:v>457.8</c:v>
                </c:pt>
                <c:pt idx="178">
                  <c:v>482.06</c:v>
                </c:pt>
                <c:pt idx="179">
                  <c:v>421.92</c:v>
                </c:pt>
                <c:pt idx="180">
                  <c:v>343.82</c:v>
                </c:pt>
                <c:pt idx="181">
                  <c:v>325.67</c:v>
                </c:pt>
                <c:pt idx="182">
                  <c:v>252.18</c:v>
                </c:pt>
                <c:pt idx="183">
                  <c:v>219.92</c:v>
                </c:pt>
                <c:pt idx="184">
                  <c:v>212</c:v>
                </c:pt>
                <c:pt idx="185">
                  <c:v>297.29000000000002</c:v>
                </c:pt>
                <c:pt idx="186">
                  <c:v>198.83</c:v>
                </c:pt>
                <c:pt idx="187">
                  <c:v>174.93</c:v>
                </c:pt>
                <c:pt idx="188">
                  <c:v>156</c:v>
                </c:pt>
                <c:pt idx="189">
                  <c:v>151.94999999999999</c:v>
                </c:pt>
                <c:pt idx="190">
                  <c:v>155.72999999999999</c:v>
                </c:pt>
                <c:pt idx="191">
                  <c:v>151.21</c:v>
                </c:pt>
                <c:pt idx="192">
                  <c:v>154.68</c:v>
                </c:pt>
                <c:pt idx="193">
                  <c:v>167.94</c:v>
                </c:pt>
                <c:pt idx="194">
                  <c:v>160.01</c:v>
                </c:pt>
                <c:pt idx="195">
                  <c:v>161.08000000000001</c:v>
                </c:pt>
                <c:pt idx="196">
                  <c:v>164.48</c:v>
                </c:pt>
                <c:pt idx="197">
                  <c:v>168.92</c:v>
                </c:pt>
                <c:pt idx="198">
                  <c:v>172.45</c:v>
                </c:pt>
                <c:pt idx="199">
                  <c:v>184.41</c:v>
                </c:pt>
                <c:pt idx="200">
                  <c:v>177.97</c:v>
                </c:pt>
                <c:pt idx="201">
                  <c:v>181.93</c:v>
                </c:pt>
                <c:pt idx="202">
                  <c:v>170.28</c:v>
                </c:pt>
                <c:pt idx="203">
                  <c:v>180</c:v>
                </c:pt>
                <c:pt idx="204">
                  <c:v>203</c:v>
                </c:pt>
                <c:pt idx="205">
                  <c:v>206</c:v>
                </c:pt>
                <c:pt idx="206">
                  <c:v>206.59</c:v>
                </c:pt>
                <c:pt idx="207">
                  <c:v>218.7</c:v>
                </c:pt>
                <c:pt idx="208">
                  <c:v>210.97</c:v>
                </c:pt>
                <c:pt idx="209">
                  <c:v>189.12</c:v>
                </c:pt>
                <c:pt idx="210">
                  <c:v>179.45</c:v>
                </c:pt>
                <c:pt idx="211">
                  <c:v>182</c:v>
                </c:pt>
                <c:pt idx="212">
                  <c:v>189.12</c:v>
                </c:pt>
                <c:pt idx="213">
                  <c:v>189.11</c:v>
                </c:pt>
                <c:pt idx="214">
                  <c:v>215.26</c:v>
                </c:pt>
                <c:pt idx="215">
                  <c:v>204</c:v>
                </c:pt>
                <c:pt idx="216">
                  <c:v>199.08</c:v>
                </c:pt>
                <c:pt idx="217">
                  <c:v>213.71</c:v>
                </c:pt>
                <c:pt idx="218">
                  <c:v>232</c:v>
                </c:pt>
                <c:pt idx="219">
                  <c:v>250.13</c:v>
                </c:pt>
                <c:pt idx="220">
                  <c:v>260</c:v>
                </c:pt>
                <c:pt idx="221">
                  <c:v>257.10000000000002</c:v>
                </c:pt>
                <c:pt idx="222">
                  <c:v>271</c:v>
                </c:pt>
                <c:pt idx="223">
                  <c:v>250</c:v>
                </c:pt>
                <c:pt idx="224">
                  <c:v>221.44</c:v>
                </c:pt>
                <c:pt idx="225">
                  <c:v>221.44</c:v>
                </c:pt>
                <c:pt idx="226">
                  <c:v>236.76</c:v>
                </c:pt>
                <c:pt idx="227">
                  <c:v>271.67</c:v>
                </c:pt>
                <c:pt idx="228">
                  <c:v>263.58999999999997</c:v>
                </c:pt>
                <c:pt idx="229">
                  <c:v>346.28</c:v>
                </c:pt>
                <c:pt idx="230">
                  <c:v>346.28</c:v>
                </c:pt>
                <c:pt idx="231">
                  <c:v>423.82</c:v>
                </c:pt>
                <c:pt idx="232">
                  <c:v>433.73</c:v>
                </c:pt>
                <c:pt idx="233">
                  <c:v>385.1</c:v>
                </c:pt>
                <c:pt idx="234">
                  <c:v>377.38</c:v>
                </c:pt>
                <c:pt idx="235">
                  <c:v>406.78</c:v>
                </c:pt>
                <c:pt idx="236">
                  <c:v>305.69</c:v>
                </c:pt>
                <c:pt idx="237">
                  <c:v>295.39999999999998</c:v>
                </c:pt>
                <c:pt idx="238">
                  <c:v>288.69</c:v>
                </c:pt>
                <c:pt idx="239">
                  <c:v>256</c:v>
                </c:pt>
                <c:pt idx="240">
                  <c:v>252.03</c:v>
                </c:pt>
                <c:pt idx="241">
                  <c:v>262.26</c:v>
                </c:pt>
                <c:pt idx="242">
                  <c:v>242.73</c:v>
                </c:pt>
                <c:pt idx="243">
                  <c:v>234</c:v>
                </c:pt>
                <c:pt idx="244">
                  <c:v>238.34</c:v>
                </c:pt>
                <c:pt idx="245">
                  <c:v>234.59</c:v>
                </c:pt>
                <c:pt idx="246">
                  <c:v>236.13</c:v>
                </c:pt>
                <c:pt idx="247">
                  <c:v>223</c:v>
                </c:pt>
                <c:pt idx="248">
                  <c:v>201.01</c:v>
                </c:pt>
                <c:pt idx="249">
                  <c:v>177.31</c:v>
                </c:pt>
                <c:pt idx="250">
                  <c:v>188.3</c:v>
                </c:pt>
                <c:pt idx="251">
                  <c:v>186.62</c:v>
                </c:pt>
                <c:pt idx="252">
                  <c:v>180</c:v>
                </c:pt>
                <c:pt idx="253">
                  <c:v>170</c:v>
                </c:pt>
                <c:pt idx="254">
                  <c:v>173.67</c:v>
                </c:pt>
                <c:pt idx="255">
                  <c:v>183.66</c:v>
                </c:pt>
                <c:pt idx="256">
                  <c:v>198.19</c:v>
                </c:pt>
                <c:pt idx="257">
                  <c:v>180.01</c:v>
                </c:pt>
                <c:pt idx="258">
                  <c:v>163</c:v>
                </c:pt>
                <c:pt idx="259">
                  <c:v>157.75</c:v>
                </c:pt>
                <c:pt idx="260">
                  <c:v>150.16999999999999</c:v>
                </c:pt>
                <c:pt idx="261">
                  <c:v>141.93</c:v>
                </c:pt>
                <c:pt idx="262">
                  <c:v>153.22999999999999</c:v>
                </c:pt>
                <c:pt idx="263">
                  <c:v>163.29</c:v>
                </c:pt>
                <c:pt idx="264">
                  <c:v>157.44999999999999</c:v>
                </c:pt>
                <c:pt idx="265">
                  <c:v>157.25</c:v>
                </c:pt>
                <c:pt idx="266">
                  <c:v>162.05000000000001</c:v>
                </c:pt>
                <c:pt idx="267">
                  <c:v>149.41999999999999</c:v>
                </c:pt>
                <c:pt idx="268">
                  <c:v>139.84</c:v>
                </c:pt>
                <c:pt idx="269">
                  <c:v>151.25</c:v>
                </c:pt>
                <c:pt idx="270">
                  <c:v>159.5</c:v>
                </c:pt>
                <c:pt idx="271">
                  <c:v>181.21</c:v>
                </c:pt>
                <c:pt idx="272">
                  <c:v>189.65</c:v>
                </c:pt>
                <c:pt idx="273">
                  <c:v>191.42</c:v>
                </c:pt>
                <c:pt idx="274">
                  <c:v>188.06</c:v>
                </c:pt>
                <c:pt idx="275">
                  <c:v>180</c:v>
                </c:pt>
                <c:pt idx="276">
                  <c:v>189.52</c:v>
                </c:pt>
                <c:pt idx="277">
                  <c:v>181</c:v>
                </c:pt>
                <c:pt idx="278">
                  <c:v>184.09</c:v>
                </c:pt>
                <c:pt idx="279">
                  <c:v>200.5</c:v>
                </c:pt>
                <c:pt idx="280">
                  <c:v>200.86</c:v>
                </c:pt>
                <c:pt idx="281">
                  <c:v>190.2</c:v>
                </c:pt>
                <c:pt idx="282">
                  <c:v>179.75</c:v>
                </c:pt>
                <c:pt idx="283">
                  <c:v>180.04</c:v>
                </c:pt>
                <c:pt idx="284">
                  <c:v>187.52</c:v>
                </c:pt>
                <c:pt idx="285">
                  <c:v>208.5</c:v>
                </c:pt>
                <c:pt idx="286">
                  <c:v>232.23</c:v>
                </c:pt>
                <c:pt idx="287">
                  <c:v>260.95999999999998</c:v>
                </c:pt>
                <c:pt idx="288">
                  <c:v>211.5</c:v>
                </c:pt>
                <c:pt idx="289">
                  <c:v>193.57</c:v>
                </c:pt>
                <c:pt idx="290">
                  <c:v>160.46</c:v>
                </c:pt>
                <c:pt idx="291">
                  <c:v>144.75</c:v>
                </c:pt>
                <c:pt idx="292">
                  <c:v>151.16999999999999</c:v>
                </c:pt>
                <c:pt idx="293">
                  <c:v>140.57</c:v>
                </c:pt>
                <c:pt idx="294">
                  <c:v>133.26</c:v>
                </c:pt>
                <c:pt idx="295">
                  <c:v>134.38999999999999</c:v>
                </c:pt>
                <c:pt idx="296">
                  <c:v>135.07</c:v>
                </c:pt>
                <c:pt idx="297">
                  <c:v>141.96</c:v>
                </c:pt>
                <c:pt idx="298">
                  <c:v>147.55000000000001</c:v>
                </c:pt>
                <c:pt idx="299">
                  <c:v>133.69</c:v>
                </c:pt>
                <c:pt idx="300">
                  <c:v>133</c:v>
                </c:pt>
                <c:pt idx="301">
                  <c:v>155.05000000000001</c:v>
                </c:pt>
                <c:pt idx="302">
                  <c:v>136.69999999999999</c:v>
                </c:pt>
                <c:pt idx="303">
                  <c:v>127.99</c:v>
                </c:pt>
                <c:pt idx="304">
                  <c:v>118.9</c:v>
                </c:pt>
                <c:pt idx="305">
                  <c:v>116.57</c:v>
                </c:pt>
                <c:pt idx="306">
                  <c:v>113.51</c:v>
                </c:pt>
                <c:pt idx="307">
                  <c:v>111.91</c:v>
                </c:pt>
                <c:pt idx="308">
                  <c:v>109.5</c:v>
                </c:pt>
                <c:pt idx="309">
                  <c:v>107.91</c:v>
                </c:pt>
                <c:pt idx="310">
                  <c:v>107.67</c:v>
                </c:pt>
                <c:pt idx="311">
                  <c:v>104.39</c:v>
                </c:pt>
                <c:pt idx="312">
                  <c:v>99.38</c:v>
                </c:pt>
                <c:pt idx="313">
                  <c:v>100.26</c:v>
                </c:pt>
                <c:pt idx="314">
                  <c:v>95.98</c:v>
                </c:pt>
                <c:pt idx="315">
                  <c:v>94.21</c:v>
                </c:pt>
                <c:pt idx="316">
                  <c:v>93.55</c:v>
                </c:pt>
                <c:pt idx="317">
                  <c:v>93.1</c:v>
                </c:pt>
                <c:pt idx="318">
                  <c:v>89.35</c:v>
                </c:pt>
                <c:pt idx="319">
                  <c:v>87.99</c:v>
                </c:pt>
                <c:pt idx="320">
                  <c:v>89.01</c:v>
                </c:pt>
                <c:pt idx="321">
                  <c:v>95.56</c:v>
                </c:pt>
                <c:pt idx="322">
                  <c:v>97.37</c:v>
                </c:pt>
                <c:pt idx="323">
                  <c:v>97.11</c:v>
                </c:pt>
                <c:pt idx="324">
                  <c:v>94.36</c:v>
                </c:pt>
                <c:pt idx="325">
                  <c:v>96.69</c:v>
                </c:pt>
                <c:pt idx="326">
                  <c:v>96.01</c:v>
                </c:pt>
                <c:pt idx="327">
                  <c:v>94.9</c:v>
                </c:pt>
                <c:pt idx="328">
                  <c:v>92.48</c:v>
                </c:pt>
                <c:pt idx="329">
                  <c:v>93.3</c:v>
                </c:pt>
                <c:pt idx="330">
                  <c:v>91.39</c:v>
                </c:pt>
                <c:pt idx="331">
                  <c:v>90.98</c:v>
                </c:pt>
                <c:pt idx="332">
                  <c:v>91.25</c:v>
                </c:pt>
                <c:pt idx="333">
                  <c:v>91.95</c:v>
                </c:pt>
                <c:pt idx="334">
                  <c:v>83.29</c:v>
                </c:pt>
                <c:pt idx="335">
                  <c:v>84.1</c:v>
                </c:pt>
                <c:pt idx="336">
                  <c:v>81.319999999999993</c:v>
                </c:pt>
                <c:pt idx="337">
                  <c:v>79.650000000000006</c:v>
                </c:pt>
                <c:pt idx="338">
                  <c:v>78.7</c:v>
                </c:pt>
                <c:pt idx="339">
                  <c:v>77.05</c:v>
                </c:pt>
                <c:pt idx="340">
                  <c:v>78.09</c:v>
                </c:pt>
                <c:pt idx="341">
                  <c:v>80.7</c:v>
                </c:pt>
                <c:pt idx="342">
                  <c:v>79.14</c:v>
                </c:pt>
                <c:pt idx="343">
                  <c:v>82.14</c:v>
                </c:pt>
                <c:pt idx="344">
                  <c:v>81.53</c:v>
                </c:pt>
                <c:pt idx="345">
                  <c:v>81.02</c:v>
                </c:pt>
                <c:pt idx="346">
                  <c:v>81.28</c:v>
                </c:pt>
                <c:pt idx="347">
                  <c:v>82.18</c:v>
                </c:pt>
                <c:pt idx="348">
                  <c:v>83</c:v>
                </c:pt>
                <c:pt idx="349">
                  <c:v>86.5</c:v>
                </c:pt>
                <c:pt idx="350">
                  <c:v>79.09</c:v>
                </c:pt>
                <c:pt idx="351">
                  <c:v>81.64</c:v>
                </c:pt>
                <c:pt idx="352">
                  <c:v>83.49</c:v>
                </c:pt>
                <c:pt idx="353">
                  <c:v>87.62</c:v>
                </c:pt>
                <c:pt idx="354">
                  <c:v>86.06</c:v>
                </c:pt>
                <c:pt idx="355">
                  <c:v>87.28</c:v>
                </c:pt>
                <c:pt idx="356">
                  <c:v>85.16</c:v>
                </c:pt>
                <c:pt idx="357">
                  <c:v>84.19</c:v>
                </c:pt>
                <c:pt idx="358">
                  <c:v>82.22</c:v>
                </c:pt>
                <c:pt idx="359">
                  <c:v>83.2</c:v>
                </c:pt>
                <c:pt idx="360">
                  <c:v>81.290000000000006</c:v>
                </c:pt>
                <c:pt idx="361">
                  <c:v>79.930000000000007</c:v>
                </c:pt>
                <c:pt idx="362">
                  <c:v>77.38</c:v>
                </c:pt>
                <c:pt idx="363">
                  <c:v>75.23</c:v>
                </c:pt>
                <c:pt idx="364">
                  <c:v>74.2</c:v>
                </c:pt>
                <c:pt idx="365">
                  <c:v>72.06</c:v>
                </c:pt>
                <c:pt idx="366">
                  <c:v>73.09</c:v>
                </c:pt>
                <c:pt idx="367">
                  <c:v>72.260000000000005</c:v>
                </c:pt>
                <c:pt idx="368">
                  <c:v>74.260000000000005</c:v>
                </c:pt>
                <c:pt idx="369">
                  <c:v>72.55</c:v>
                </c:pt>
                <c:pt idx="370">
                  <c:v>74.05</c:v>
                </c:pt>
                <c:pt idx="371">
                  <c:v>73.3</c:v>
                </c:pt>
                <c:pt idx="372">
                  <c:v>72.099999999999994</c:v>
                </c:pt>
                <c:pt idx="373">
                  <c:v>69.39</c:v>
                </c:pt>
                <c:pt idx="374">
                  <c:v>68.2</c:v>
                </c:pt>
                <c:pt idx="375">
                  <c:v>67.84</c:v>
                </c:pt>
                <c:pt idx="376">
                  <c:v>68.180000000000007</c:v>
                </c:pt>
                <c:pt idx="377">
                  <c:v>69.430000000000007</c:v>
                </c:pt>
                <c:pt idx="378">
                  <c:v>64.28</c:v>
                </c:pt>
                <c:pt idx="379">
                  <c:v>64.959999999999994</c:v>
                </c:pt>
                <c:pt idx="380">
                  <c:v>65.819999999999993</c:v>
                </c:pt>
                <c:pt idx="381">
                  <c:v>66.91</c:v>
                </c:pt>
                <c:pt idx="382">
                  <c:v>64.77</c:v>
                </c:pt>
                <c:pt idx="383">
                  <c:v>64.02</c:v>
                </c:pt>
                <c:pt idx="384">
                  <c:v>64.19</c:v>
                </c:pt>
                <c:pt idx="385">
                  <c:v>63.35</c:v>
                </c:pt>
                <c:pt idx="386">
                  <c:v>59.82</c:v>
                </c:pt>
                <c:pt idx="387">
                  <c:v>64.75</c:v>
                </c:pt>
                <c:pt idx="388">
                  <c:v>67.88</c:v>
                </c:pt>
                <c:pt idx="389">
                  <c:v>68.069999999999993</c:v>
                </c:pt>
                <c:pt idx="390">
                  <c:v>65.790000000000006</c:v>
                </c:pt>
                <c:pt idx="391">
                  <c:v>66.42</c:v>
                </c:pt>
                <c:pt idx="392">
                  <c:v>64.650000000000006</c:v>
                </c:pt>
                <c:pt idx="393">
                  <c:v>64.37</c:v>
                </c:pt>
                <c:pt idx="394">
                  <c:v>62.18</c:v>
                </c:pt>
                <c:pt idx="395">
                  <c:v>62.92</c:v>
                </c:pt>
                <c:pt idx="396">
                  <c:v>60.96</c:v>
                </c:pt>
                <c:pt idx="397">
                  <c:v>60.38</c:v>
                </c:pt>
                <c:pt idx="398">
                  <c:v>61.36</c:v>
                </c:pt>
                <c:pt idx="399">
                  <c:v>54.63</c:v>
                </c:pt>
                <c:pt idx="400">
                  <c:v>54.26</c:v>
                </c:pt>
                <c:pt idx="401">
                  <c:v>53.61</c:v>
                </c:pt>
                <c:pt idx="402">
                  <c:v>54.71</c:v>
                </c:pt>
                <c:pt idx="403">
                  <c:v>53.65</c:v>
                </c:pt>
                <c:pt idx="404">
                  <c:v>53.8</c:v>
                </c:pt>
                <c:pt idx="405">
                  <c:v>55.03</c:v>
                </c:pt>
                <c:pt idx="406">
                  <c:v>53.57</c:v>
                </c:pt>
                <c:pt idx="407">
                  <c:v>53.43</c:v>
                </c:pt>
                <c:pt idx="408">
                  <c:v>53.9</c:v>
                </c:pt>
                <c:pt idx="409">
                  <c:v>53.7</c:v>
                </c:pt>
                <c:pt idx="410">
                  <c:v>52.89</c:v>
                </c:pt>
                <c:pt idx="411">
                  <c:v>51.42</c:v>
                </c:pt>
                <c:pt idx="412">
                  <c:v>51.72</c:v>
                </c:pt>
                <c:pt idx="413">
                  <c:v>51.42</c:v>
                </c:pt>
                <c:pt idx="414">
                  <c:v>49.78</c:v>
                </c:pt>
                <c:pt idx="415">
                  <c:v>49.27</c:v>
                </c:pt>
                <c:pt idx="416">
                  <c:v>49.65</c:v>
                </c:pt>
                <c:pt idx="417">
                  <c:v>49.86</c:v>
                </c:pt>
                <c:pt idx="418">
                  <c:v>48.85</c:v>
                </c:pt>
                <c:pt idx="419">
                  <c:v>47.19</c:v>
                </c:pt>
                <c:pt idx="420">
                  <c:v>48.46</c:v>
                </c:pt>
                <c:pt idx="421">
                  <c:v>48.44</c:v>
                </c:pt>
                <c:pt idx="422">
                  <c:v>49.53</c:v>
                </c:pt>
                <c:pt idx="423">
                  <c:v>47.95</c:v>
                </c:pt>
                <c:pt idx="424">
                  <c:v>48.2</c:v>
                </c:pt>
                <c:pt idx="425">
                  <c:v>48.18</c:v>
                </c:pt>
                <c:pt idx="426">
                  <c:v>48.38</c:v>
                </c:pt>
                <c:pt idx="427">
                  <c:v>46.99</c:v>
                </c:pt>
                <c:pt idx="428">
                  <c:v>48.1</c:v>
                </c:pt>
                <c:pt idx="429">
                  <c:v>47.56</c:v>
                </c:pt>
                <c:pt idx="430">
                  <c:v>46.88</c:v>
                </c:pt>
                <c:pt idx="431">
                  <c:v>48.26</c:v>
                </c:pt>
                <c:pt idx="432">
                  <c:v>48.44</c:v>
                </c:pt>
                <c:pt idx="433">
                  <c:v>47.44</c:v>
                </c:pt>
                <c:pt idx="434">
                  <c:v>47.19</c:v>
                </c:pt>
                <c:pt idx="435">
                  <c:v>45.48</c:v>
                </c:pt>
                <c:pt idx="436">
                  <c:v>43.67</c:v>
                </c:pt>
                <c:pt idx="437">
                  <c:v>43.4</c:v>
                </c:pt>
                <c:pt idx="438">
                  <c:v>42.31</c:v>
                </c:pt>
                <c:pt idx="439">
                  <c:v>41.97</c:v>
                </c:pt>
                <c:pt idx="440">
                  <c:v>42.4</c:v>
                </c:pt>
                <c:pt idx="441">
                  <c:v>42.27</c:v>
                </c:pt>
                <c:pt idx="442">
                  <c:v>44.8</c:v>
                </c:pt>
                <c:pt idx="443">
                  <c:v>44.97</c:v>
                </c:pt>
                <c:pt idx="444">
                  <c:v>44.79</c:v>
                </c:pt>
                <c:pt idx="445">
                  <c:v>44.84</c:v>
                </c:pt>
                <c:pt idx="446">
                  <c:v>44.67</c:v>
                </c:pt>
                <c:pt idx="447">
                  <c:v>46.65</c:v>
                </c:pt>
                <c:pt idx="448">
                  <c:v>46.94</c:v>
                </c:pt>
                <c:pt idx="449">
                  <c:v>46.42</c:v>
                </c:pt>
                <c:pt idx="450">
                  <c:v>46.95</c:v>
                </c:pt>
                <c:pt idx="451">
                  <c:v>47.52</c:v>
                </c:pt>
                <c:pt idx="452">
                  <c:v>49.36</c:v>
                </c:pt>
                <c:pt idx="453">
                  <c:v>49.47</c:v>
                </c:pt>
                <c:pt idx="454">
                  <c:v>50.99</c:v>
                </c:pt>
                <c:pt idx="455">
                  <c:v>51.38</c:v>
                </c:pt>
                <c:pt idx="456">
                  <c:v>51.39</c:v>
                </c:pt>
                <c:pt idx="457">
                  <c:v>49.66</c:v>
                </c:pt>
                <c:pt idx="458">
                  <c:v>48.12</c:v>
                </c:pt>
                <c:pt idx="459">
                  <c:v>46.93</c:v>
                </c:pt>
                <c:pt idx="460">
                  <c:v>46.87</c:v>
                </c:pt>
                <c:pt idx="461">
                  <c:v>46.11</c:v>
                </c:pt>
                <c:pt idx="462">
                  <c:v>54.41</c:v>
                </c:pt>
                <c:pt idx="463">
                  <c:v>54.58</c:v>
                </c:pt>
                <c:pt idx="464">
                  <c:v>51.07</c:v>
                </c:pt>
                <c:pt idx="465">
                  <c:v>51.66</c:v>
                </c:pt>
                <c:pt idx="466">
                  <c:v>54.25</c:v>
                </c:pt>
                <c:pt idx="467">
                  <c:v>55.65</c:v>
                </c:pt>
                <c:pt idx="468">
                  <c:v>52.52</c:v>
                </c:pt>
                <c:pt idx="469">
                  <c:v>52.13</c:v>
                </c:pt>
                <c:pt idx="470">
                  <c:v>52.41</c:v>
                </c:pt>
                <c:pt idx="471">
                  <c:v>49.96</c:v>
                </c:pt>
                <c:pt idx="473">
                  <c:v>55.15</c:v>
                </c:pt>
                <c:pt idx="474">
                  <c:v>56.33</c:v>
                </c:pt>
                <c:pt idx="475">
                  <c:v>61.65</c:v>
                </c:pt>
                <c:pt idx="476">
                  <c:v>56.3</c:v>
                </c:pt>
                <c:pt idx="477">
                  <c:v>54.38</c:v>
                </c:pt>
                <c:pt idx="478">
                  <c:v>52.7</c:v>
                </c:pt>
                <c:pt idx="479">
                  <c:v>48.69</c:v>
                </c:pt>
                <c:pt idx="480">
                  <c:v>48.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20-4787-9214-955F59C532A6}"/>
            </c:ext>
          </c:extLst>
        </c:ser>
        <c:ser>
          <c:idx val="1"/>
          <c:order val="1"/>
          <c:tx>
            <c:strRef>
              <c:f>Prices!$C$1</c:f>
              <c:strCache>
                <c:ptCount val="1"/>
                <c:pt idx="0">
                  <c:v>Natural Gas TTF</c:v>
                </c:pt>
              </c:strCache>
            </c:strRef>
          </c:tx>
          <c:spPr>
            <a:ln w="19050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Prices!$A$2:$A$482</c:f>
              <c:numCache>
                <c:formatCode>m/d/yyyy</c:formatCode>
                <c:ptCount val="481"/>
                <c:pt idx="0">
                  <c:v>44879</c:v>
                </c:pt>
                <c:pt idx="1">
                  <c:v>44876</c:v>
                </c:pt>
                <c:pt idx="2">
                  <c:v>44875</c:v>
                </c:pt>
                <c:pt idx="3">
                  <c:v>44874</c:v>
                </c:pt>
                <c:pt idx="4">
                  <c:v>44873</c:v>
                </c:pt>
                <c:pt idx="5">
                  <c:v>44872</c:v>
                </c:pt>
                <c:pt idx="6">
                  <c:v>44869</c:v>
                </c:pt>
                <c:pt idx="7">
                  <c:v>44868</c:v>
                </c:pt>
                <c:pt idx="8">
                  <c:v>44867</c:v>
                </c:pt>
                <c:pt idx="9">
                  <c:v>44866</c:v>
                </c:pt>
                <c:pt idx="10">
                  <c:v>44865</c:v>
                </c:pt>
                <c:pt idx="11">
                  <c:v>44862</c:v>
                </c:pt>
                <c:pt idx="12">
                  <c:v>44861</c:v>
                </c:pt>
                <c:pt idx="13">
                  <c:v>44860</c:v>
                </c:pt>
                <c:pt idx="14">
                  <c:v>44859</c:v>
                </c:pt>
                <c:pt idx="15">
                  <c:v>44858</c:v>
                </c:pt>
                <c:pt idx="16">
                  <c:v>44855</c:v>
                </c:pt>
                <c:pt idx="17">
                  <c:v>44854</c:v>
                </c:pt>
                <c:pt idx="18">
                  <c:v>44853</c:v>
                </c:pt>
                <c:pt idx="19">
                  <c:v>44852</c:v>
                </c:pt>
                <c:pt idx="20">
                  <c:v>44851</c:v>
                </c:pt>
                <c:pt idx="21">
                  <c:v>44848</c:v>
                </c:pt>
                <c:pt idx="22">
                  <c:v>44847</c:v>
                </c:pt>
                <c:pt idx="23">
                  <c:v>44846</c:v>
                </c:pt>
                <c:pt idx="24">
                  <c:v>44845</c:v>
                </c:pt>
                <c:pt idx="25">
                  <c:v>44844</c:v>
                </c:pt>
                <c:pt idx="26">
                  <c:v>44841</c:v>
                </c:pt>
                <c:pt idx="27">
                  <c:v>44840</c:v>
                </c:pt>
                <c:pt idx="28">
                  <c:v>44839</c:v>
                </c:pt>
                <c:pt idx="29">
                  <c:v>44838</c:v>
                </c:pt>
                <c:pt idx="30">
                  <c:v>44837</c:v>
                </c:pt>
                <c:pt idx="31">
                  <c:v>44834</c:v>
                </c:pt>
                <c:pt idx="32">
                  <c:v>44833</c:v>
                </c:pt>
                <c:pt idx="33">
                  <c:v>44832</c:v>
                </c:pt>
                <c:pt idx="34">
                  <c:v>44831</c:v>
                </c:pt>
                <c:pt idx="35">
                  <c:v>44830</c:v>
                </c:pt>
                <c:pt idx="36">
                  <c:v>44827</c:v>
                </c:pt>
                <c:pt idx="37">
                  <c:v>44826</c:v>
                </c:pt>
                <c:pt idx="38">
                  <c:v>44825</c:v>
                </c:pt>
                <c:pt idx="39">
                  <c:v>44824</c:v>
                </c:pt>
                <c:pt idx="40">
                  <c:v>44823</c:v>
                </c:pt>
                <c:pt idx="41">
                  <c:v>44820</c:v>
                </c:pt>
                <c:pt idx="42">
                  <c:v>44819</c:v>
                </c:pt>
                <c:pt idx="43">
                  <c:v>44818</c:v>
                </c:pt>
                <c:pt idx="44">
                  <c:v>44817</c:v>
                </c:pt>
                <c:pt idx="45">
                  <c:v>44816</c:v>
                </c:pt>
                <c:pt idx="46">
                  <c:v>44813</c:v>
                </c:pt>
                <c:pt idx="47">
                  <c:v>44812</c:v>
                </c:pt>
                <c:pt idx="48">
                  <c:v>44811</c:v>
                </c:pt>
                <c:pt idx="49">
                  <c:v>44810</c:v>
                </c:pt>
                <c:pt idx="50">
                  <c:v>44809</c:v>
                </c:pt>
                <c:pt idx="51">
                  <c:v>44806</c:v>
                </c:pt>
                <c:pt idx="52">
                  <c:v>44805</c:v>
                </c:pt>
                <c:pt idx="53">
                  <c:v>44804</c:v>
                </c:pt>
                <c:pt idx="54">
                  <c:v>44803</c:v>
                </c:pt>
                <c:pt idx="55">
                  <c:v>44802</c:v>
                </c:pt>
                <c:pt idx="56">
                  <c:v>44799</c:v>
                </c:pt>
                <c:pt idx="57">
                  <c:v>44798</c:v>
                </c:pt>
                <c:pt idx="58">
                  <c:v>44797</c:v>
                </c:pt>
                <c:pt idx="59">
                  <c:v>44796</c:v>
                </c:pt>
                <c:pt idx="60">
                  <c:v>44795</c:v>
                </c:pt>
                <c:pt idx="61">
                  <c:v>44792</c:v>
                </c:pt>
                <c:pt idx="62">
                  <c:v>44791</c:v>
                </c:pt>
                <c:pt idx="63">
                  <c:v>44790</c:v>
                </c:pt>
                <c:pt idx="64">
                  <c:v>44789</c:v>
                </c:pt>
                <c:pt idx="65">
                  <c:v>44788</c:v>
                </c:pt>
                <c:pt idx="66">
                  <c:v>44785</c:v>
                </c:pt>
                <c:pt idx="67">
                  <c:v>44784</c:v>
                </c:pt>
                <c:pt idx="68">
                  <c:v>44783</c:v>
                </c:pt>
                <c:pt idx="69">
                  <c:v>44782</c:v>
                </c:pt>
                <c:pt idx="70">
                  <c:v>44781</c:v>
                </c:pt>
                <c:pt idx="71">
                  <c:v>44778</c:v>
                </c:pt>
                <c:pt idx="72">
                  <c:v>44777</c:v>
                </c:pt>
                <c:pt idx="73">
                  <c:v>44776</c:v>
                </c:pt>
                <c:pt idx="74">
                  <c:v>44775</c:v>
                </c:pt>
                <c:pt idx="75">
                  <c:v>44774</c:v>
                </c:pt>
                <c:pt idx="76">
                  <c:v>44771</c:v>
                </c:pt>
                <c:pt idx="77">
                  <c:v>44770</c:v>
                </c:pt>
                <c:pt idx="78">
                  <c:v>44769</c:v>
                </c:pt>
                <c:pt idx="79">
                  <c:v>44768</c:v>
                </c:pt>
                <c:pt idx="80">
                  <c:v>44767</c:v>
                </c:pt>
                <c:pt idx="81">
                  <c:v>44764</c:v>
                </c:pt>
                <c:pt idx="82">
                  <c:v>44763</c:v>
                </c:pt>
                <c:pt idx="83">
                  <c:v>44762</c:v>
                </c:pt>
                <c:pt idx="84">
                  <c:v>44761</c:v>
                </c:pt>
                <c:pt idx="85">
                  <c:v>44760</c:v>
                </c:pt>
                <c:pt idx="86">
                  <c:v>44757</c:v>
                </c:pt>
                <c:pt idx="87">
                  <c:v>44756</c:v>
                </c:pt>
                <c:pt idx="88">
                  <c:v>44755</c:v>
                </c:pt>
                <c:pt idx="89">
                  <c:v>44754</c:v>
                </c:pt>
                <c:pt idx="90">
                  <c:v>44753</c:v>
                </c:pt>
                <c:pt idx="91">
                  <c:v>44750</c:v>
                </c:pt>
                <c:pt idx="92">
                  <c:v>44749</c:v>
                </c:pt>
                <c:pt idx="93">
                  <c:v>44748</c:v>
                </c:pt>
                <c:pt idx="94">
                  <c:v>44747</c:v>
                </c:pt>
                <c:pt idx="95">
                  <c:v>44746</c:v>
                </c:pt>
                <c:pt idx="96">
                  <c:v>44743</c:v>
                </c:pt>
                <c:pt idx="97">
                  <c:v>44742</c:v>
                </c:pt>
                <c:pt idx="98">
                  <c:v>44741</c:v>
                </c:pt>
                <c:pt idx="99">
                  <c:v>44740</c:v>
                </c:pt>
                <c:pt idx="100">
                  <c:v>44739</c:v>
                </c:pt>
                <c:pt idx="101">
                  <c:v>44736</c:v>
                </c:pt>
                <c:pt idx="102">
                  <c:v>44735</c:v>
                </c:pt>
                <c:pt idx="103">
                  <c:v>44734</c:v>
                </c:pt>
                <c:pt idx="104">
                  <c:v>44733</c:v>
                </c:pt>
                <c:pt idx="105">
                  <c:v>44732</c:v>
                </c:pt>
                <c:pt idx="106">
                  <c:v>44729</c:v>
                </c:pt>
                <c:pt idx="107">
                  <c:v>44728</c:v>
                </c:pt>
                <c:pt idx="108">
                  <c:v>44727</c:v>
                </c:pt>
                <c:pt idx="109">
                  <c:v>44726</c:v>
                </c:pt>
                <c:pt idx="110">
                  <c:v>44725</c:v>
                </c:pt>
                <c:pt idx="111">
                  <c:v>44722</c:v>
                </c:pt>
                <c:pt idx="112">
                  <c:v>44721</c:v>
                </c:pt>
                <c:pt idx="113">
                  <c:v>44720</c:v>
                </c:pt>
                <c:pt idx="114">
                  <c:v>44719</c:v>
                </c:pt>
                <c:pt idx="115">
                  <c:v>44718</c:v>
                </c:pt>
                <c:pt idx="116">
                  <c:v>44715</c:v>
                </c:pt>
                <c:pt idx="117">
                  <c:v>44714</c:v>
                </c:pt>
                <c:pt idx="118">
                  <c:v>44713</c:v>
                </c:pt>
                <c:pt idx="119">
                  <c:v>44712</c:v>
                </c:pt>
                <c:pt idx="120">
                  <c:v>44711</c:v>
                </c:pt>
                <c:pt idx="121">
                  <c:v>44708</c:v>
                </c:pt>
                <c:pt idx="122">
                  <c:v>44707</c:v>
                </c:pt>
                <c:pt idx="123">
                  <c:v>44706</c:v>
                </c:pt>
                <c:pt idx="124">
                  <c:v>44705</c:v>
                </c:pt>
                <c:pt idx="125">
                  <c:v>44704</c:v>
                </c:pt>
                <c:pt idx="126">
                  <c:v>44701</c:v>
                </c:pt>
                <c:pt idx="127">
                  <c:v>44700</c:v>
                </c:pt>
                <c:pt idx="128">
                  <c:v>44699</c:v>
                </c:pt>
                <c:pt idx="129">
                  <c:v>44698</c:v>
                </c:pt>
                <c:pt idx="130">
                  <c:v>44697</c:v>
                </c:pt>
                <c:pt idx="131">
                  <c:v>44694</c:v>
                </c:pt>
                <c:pt idx="132">
                  <c:v>44693</c:v>
                </c:pt>
                <c:pt idx="133">
                  <c:v>44692</c:v>
                </c:pt>
                <c:pt idx="134">
                  <c:v>44691</c:v>
                </c:pt>
                <c:pt idx="135">
                  <c:v>44690</c:v>
                </c:pt>
                <c:pt idx="136">
                  <c:v>44687</c:v>
                </c:pt>
                <c:pt idx="137">
                  <c:v>44686</c:v>
                </c:pt>
                <c:pt idx="138">
                  <c:v>44685</c:v>
                </c:pt>
                <c:pt idx="139">
                  <c:v>44684</c:v>
                </c:pt>
                <c:pt idx="140">
                  <c:v>44683</c:v>
                </c:pt>
                <c:pt idx="141">
                  <c:v>44680</c:v>
                </c:pt>
                <c:pt idx="142">
                  <c:v>44679</c:v>
                </c:pt>
                <c:pt idx="143">
                  <c:v>44678</c:v>
                </c:pt>
                <c:pt idx="144">
                  <c:v>44677</c:v>
                </c:pt>
                <c:pt idx="145">
                  <c:v>44676</c:v>
                </c:pt>
                <c:pt idx="146">
                  <c:v>44673</c:v>
                </c:pt>
                <c:pt idx="147">
                  <c:v>44672</c:v>
                </c:pt>
                <c:pt idx="148">
                  <c:v>44671</c:v>
                </c:pt>
                <c:pt idx="149">
                  <c:v>44670</c:v>
                </c:pt>
                <c:pt idx="150">
                  <c:v>44665</c:v>
                </c:pt>
                <c:pt idx="151">
                  <c:v>44664</c:v>
                </c:pt>
                <c:pt idx="152">
                  <c:v>44663</c:v>
                </c:pt>
                <c:pt idx="153">
                  <c:v>44662</c:v>
                </c:pt>
                <c:pt idx="154">
                  <c:v>44659</c:v>
                </c:pt>
                <c:pt idx="155">
                  <c:v>44658</c:v>
                </c:pt>
                <c:pt idx="156">
                  <c:v>44657</c:v>
                </c:pt>
                <c:pt idx="157">
                  <c:v>44656</c:v>
                </c:pt>
                <c:pt idx="158">
                  <c:v>44655</c:v>
                </c:pt>
                <c:pt idx="159">
                  <c:v>44652</c:v>
                </c:pt>
                <c:pt idx="160">
                  <c:v>44651</c:v>
                </c:pt>
                <c:pt idx="161">
                  <c:v>44650</c:v>
                </c:pt>
                <c:pt idx="162">
                  <c:v>44649</c:v>
                </c:pt>
                <c:pt idx="163">
                  <c:v>44648</c:v>
                </c:pt>
                <c:pt idx="164">
                  <c:v>44645</c:v>
                </c:pt>
                <c:pt idx="165">
                  <c:v>44644</c:v>
                </c:pt>
                <c:pt idx="166">
                  <c:v>44643</c:v>
                </c:pt>
                <c:pt idx="167">
                  <c:v>44642</c:v>
                </c:pt>
                <c:pt idx="168">
                  <c:v>44641</c:v>
                </c:pt>
                <c:pt idx="169">
                  <c:v>44638</c:v>
                </c:pt>
                <c:pt idx="170">
                  <c:v>44637</c:v>
                </c:pt>
                <c:pt idx="171">
                  <c:v>44636</c:v>
                </c:pt>
                <c:pt idx="172">
                  <c:v>44635</c:v>
                </c:pt>
                <c:pt idx="173">
                  <c:v>44634</c:v>
                </c:pt>
                <c:pt idx="174">
                  <c:v>44631</c:v>
                </c:pt>
                <c:pt idx="175">
                  <c:v>44630</c:v>
                </c:pt>
                <c:pt idx="176">
                  <c:v>44629</c:v>
                </c:pt>
                <c:pt idx="177">
                  <c:v>44628</c:v>
                </c:pt>
                <c:pt idx="178">
                  <c:v>44627</c:v>
                </c:pt>
                <c:pt idx="179">
                  <c:v>44624</c:v>
                </c:pt>
                <c:pt idx="180">
                  <c:v>44623</c:v>
                </c:pt>
                <c:pt idx="181">
                  <c:v>44622</c:v>
                </c:pt>
                <c:pt idx="182">
                  <c:v>44621</c:v>
                </c:pt>
                <c:pt idx="183">
                  <c:v>44620</c:v>
                </c:pt>
                <c:pt idx="184">
                  <c:v>44617</c:v>
                </c:pt>
                <c:pt idx="185">
                  <c:v>44616</c:v>
                </c:pt>
                <c:pt idx="186">
                  <c:v>44615</c:v>
                </c:pt>
                <c:pt idx="187">
                  <c:v>44614</c:v>
                </c:pt>
                <c:pt idx="188">
                  <c:v>44613</c:v>
                </c:pt>
                <c:pt idx="189">
                  <c:v>44610</c:v>
                </c:pt>
                <c:pt idx="190">
                  <c:v>44609</c:v>
                </c:pt>
                <c:pt idx="191">
                  <c:v>44608</c:v>
                </c:pt>
                <c:pt idx="192">
                  <c:v>44607</c:v>
                </c:pt>
                <c:pt idx="193">
                  <c:v>44606</c:v>
                </c:pt>
                <c:pt idx="194">
                  <c:v>44603</c:v>
                </c:pt>
                <c:pt idx="195">
                  <c:v>44602</c:v>
                </c:pt>
                <c:pt idx="196">
                  <c:v>44601</c:v>
                </c:pt>
                <c:pt idx="197">
                  <c:v>44600</c:v>
                </c:pt>
                <c:pt idx="198">
                  <c:v>44599</c:v>
                </c:pt>
                <c:pt idx="199">
                  <c:v>44596</c:v>
                </c:pt>
                <c:pt idx="200">
                  <c:v>44595</c:v>
                </c:pt>
                <c:pt idx="201">
                  <c:v>44594</c:v>
                </c:pt>
                <c:pt idx="202">
                  <c:v>44593</c:v>
                </c:pt>
                <c:pt idx="203">
                  <c:v>44592</c:v>
                </c:pt>
                <c:pt idx="204">
                  <c:v>44589</c:v>
                </c:pt>
                <c:pt idx="205">
                  <c:v>44588</c:v>
                </c:pt>
                <c:pt idx="206">
                  <c:v>44587</c:v>
                </c:pt>
                <c:pt idx="207">
                  <c:v>44586</c:v>
                </c:pt>
                <c:pt idx="208">
                  <c:v>44585</c:v>
                </c:pt>
                <c:pt idx="209">
                  <c:v>44582</c:v>
                </c:pt>
                <c:pt idx="210">
                  <c:v>44581</c:v>
                </c:pt>
                <c:pt idx="211">
                  <c:v>44580</c:v>
                </c:pt>
                <c:pt idx="212">
                  <c:v>44579</c:v>
                </c:pt>
                <c:pt idx="213">
                  <c:v>44578</c:v>
                </c:pt>
                <c:pt idx="214">
                  <c:v>44575</c:v>
                </c:pt>
                <c:pt idx="215">
                  <c:v>44574</c:v>
                </c:pt>
                <c:pt idx="216">
                  <c:v>44573</c:v>
                </c:pt>
                <c:pt idx="217">
                  <c:v>44572</c:v>
                </c:pt>
                <c:pt idx="218">
                  <c:v>44571</c:v>
                </c:pt>
                <c:pt idx="219">
                  <c:v>44568</c:v>
                </c:pt>
                <c:pt idx="220">
                  <c:v>44567</c:v>
                </c:pt>
                <c:pt idx="221">
                  <c:v>44566</c:v>
                </c:pt>
                <c:pt idx="222">
                  <c:v>44565</c:v>
                </c:pt>
                <c:pt idx="223">
                  <c:v>44564</c:v>
                </c:pt>
                <c:pt idx="224">
                  <c:v>44561</c:v>
                </c:pt>
                <c:pt idx="225">
                  <c:v>44560</c:v>
                </c:pt>
                <c:pt idx="226">
                  <c:v>44559</c:v>
                </c:pt>
                <c:pt idx="227">
                  <c:v>44558</c:v>
                </c:pt>
                <c:pt idx="228">
                  <c:v>44557</c:v>
                </c:pt>
                <c:pt idx="229">
                  <c:v>44554</c:v>
                </c:pt>
                <c:pt idx="230">
                  <c:v>44553</c:v>
                </c:pt>
                <c:pt idx="231">
                  <c:v>44552</c:v>
                </c:pt>
                <c:pt idx="232">
                  <c:v>44551</c:v>
                </c:pt>
                <c:pt idx="233">
                  <c:v>44550</c:v>
                </c:pt>
                <c:pt idx="234">
                  <c:v>44547</c:v>
                </c:pt>
                <c:pt idx="235">
                  <c:v>44546</c:v>
                </c:pt>
                <c:pt idx="236">
                  <c:v>44545</c:v>
                </c:pt>
                <c:pt idx="237">
                  <c:v>44544</c:v>
                </c:pt>
                <c:pt idx="238">
                  <c:v>44543</c:v>
                </c:pt>
                <c:pt idx="239">
                  <c:v>44540</c:v>
                </c:pt>
                <c:pt idx="240">
                  <c:v>44539</c:v>
                </c:pt>
                <c:pt idx="241">
                  <c:v>44538</c:v>
                </c:pt>
                <c:pt idx="242">
                  <c:v>44537</c:v>
                </c:pt>
                <c:pt idx="243">
                  <c:v>44536</c:v>
                </c:pt>
                <c:pt idx="244">
                  <c:v>44533</c:v>
                </c:pt>
                <c:pt idx="245">
                  <c:v>44532</c:v>
                </c:pt>
                <c:pt idx="246">
                  <c:v>44531</c:v>
                </c:pt>
                <c:pt idx="247">
                  <c:v>44530</c:v>
                </c:pt>
                <c:pt idx="248">
                  <c:v>44529</c:v>
                </c:pt>
                <c:pt idx="249">
                  <c:v>44526</c:v>
                </c:pt>
                <c:pt idx="250">
                  <c:v>44525</c:v>
                </c:pt>
                <c:pt idx="251">
                  <c:v>44524</c:v>
                </c:pt>
                <c:pt idx="252">
                  <c:v>44523</c:v>
                </c:pt>
                <c:pt idx="253">
                  <c:v>44522</c:v>
                </c:pt>
                <c:pt idx="254">
                  <c:v>44519</c:v>
                </c:pt>
                <c:pt idx="255">
                  <c:v>44518</c:v>
                </c:pt>
                <c:pt idx="256">
                  <c:v>44517</c:v>
                </c:pt>
                <c:pt idx="257">
                  <c:v>44516</c:v>
                </c:pt>
                <c:pt idx="258">
                  <c:v>44515</c:v>
                </c:pt>
                <c:pt idx="259">
                  <c:v>44512</c:v>
                </c:pt>
                <c:pt idx="260">
                  <c:v>44511</c:v>
                </c:pt>
                <c:pt idx="261">
                  <c:v>44510</c:v>
                </c:pt>
                <c:pt idx="262">
                  <c:v>44509</c:v>
                </c:pt>
                <c:pt idx="263">
                  <c:v>44508</c:v>
                </c:pt>
                <c:pt idx="264">
                  <c:v>44505</c:v>
                </c:pt>
                <c:pt idx="265">
                  <c:v>44504</c:v>
                </c:pt>
                <c:pt idx="266">
                  <c:v>44503</c:v>
                </c:pt>
                <c:pt idx="267">
                  <c:v>44502</c:v>
                </c:pt>
                <c:pt idx="268">
                  <c:v>44501</c:v>
                </c:pt>
                <c:pt idx="269">
                  <c:v>44498</c:v>
                </c:pt>
                <c:pt idx="270">
                  <c:v>44497</c:v>
                </c:pt>
                <c:pt idx="271">
                  <c:v>44496</c:v>
                </c:pt>
                <c:pt idx="272">
                  <c:v>44495</c:v>
                </c:pt>
                <c:pt idx="273">
                  <c:v>44494</c:v>
                </c:pt>
                <c:pt idx="274">
                  <c:v>44491</c:v>
                </c:pt>
                <c:pt idx="275">
                  <c:v>44490</c:v>
                </c:pt>
                <c:pt idx="276">
                  <c:v>44489</c:v>
                </c:pt>
                <c:pt idx="277">
                  <c:v>44488</c:v>
                </c:pt>
                <c:pt idx="278">
                  <c:v>44487</c:v>
                </c:pt>
                <c:pt idx="279">
                  <c:v>44484</c:v>
                </c:pt>
                <c:pt idx="280">
                  <c:v>44483</c:v>
                </c:pt>
                <c:pt idx="281">
                  <c:v>44482</c:v>
                </c:pt>
                <c:pt idx="282">
                  <c:v>44481</c:v>
                </c:pt>
                <c:pt idx="283">
                  <c:v>44480</c:v>
                </c:pt>
                <c:pt idx="284">
                  <c:v>44477</c:v>
                </c:pt>
                <c:pt idx="285">
                  <c:v>44476</c:v>
                </c:pt>
                <c:pt idx="286">
                  <c:v>44475</c:v>
                </c:pt>
                <c:pt idx="287">
                  <c:v>44474</c:v>
                </c:pt>
                <c:pt idx="288">
                  <c:v>44473</c:v>
                </c:pt>
                <c:pt idx="289">
                  <c:v>44470</c:v>
                </c:pt>
                <c:pt idx="290">
                  <c:v>44469</c:v>
                </c:pt>
                <c:pt idx="291">
                  <c:v>44468</c:v>
                </c:pt>
                <c:pt idx="292">
                  <c:v>44467</c:v>
                </c:pt>
                <c:pt idx="293">
                  <c:v>44466</c:v>
                </c:pt>
                <c:pt idx="294">
                  <c:v>44463</c:v>
                </c:pt>
                <c:pt idx="295">
                  <c:v>44462</c:v>
                </c:pt>
                <c:pt idx="296">
                  <c:v>44461</c:v>
                </c:pt>
                <c:pt idx="297">
                  <c:v>44460</c:v>
                </c:pt>
                <c:pt idx="298">
                  <c:v>44459</c:v>
                </c:pt>
                <c:pt idx="299">
                  <c:v>44456</c:v>
                </c:pt>
                <c:pt idx="300">
                  <c:v>44455</c:v>
                </c:pt>
                <c:pt idx="301">
                  <c:v>44454</c:v>
                </c:pt>
                <c:pt idx="302">
                  <c:v>44453</c:v>
                </c:pt>
                <c:pt idx="303">
                  <c:v>44452</c:v>
                </c:pt>
                <c:pt idx="304">
                  <c:v>44449</c:v>
                </c:pt>
                <c:pt idx="305">
                  <c:v>44448</c:v>
                </c:pt>
                <c:pt idx="306">
                  <c:v>44447</c:v>
                </c:pt>
                <c:pt idx="307">
                  <c:v>44446</c:v>
                </c:pt>
                <c:pt idx="308">
                  <c:v>44445</c:v>
                </c:pt>
                <c:pt idx="309">
                  <c:v>44442</c:v>
                </c:pt>
                <c:pt idx="310">
                  <c:v>44441</c:v>
                </c:pt>
                <c:pt idx="311">
                  <c:v>44440</c:v>
                </c:pt>
                <c:pt idx="312">
                  <c:v>44439</c:v>
                </c:pt>
                <c:pt idx="313">
                  <c:v>44438</c:v>
                </c:pt>
                <c:pt idx="314">
                  <c:v>44435</c:v>
                </c:pt>
                <c:pt idx="315">
                  <c:v>44434</c:v>
                </c:pt>
                <c:pt idx="316">
                  <c:v>44433</c:v>
                </c:pt>
                <c:pt idx="317">
                  <c:v>44432</c:v>
                </c:pt>
                <c:pt idx="318">
                  <c:v>44431</c:v>
                </c:pt>
                <c:pt idx="319">
                  <c:v>44428</c:v>
                </c:pt>
                <c:pt idx="320">
                  <c:v>44427</c:v>
                </c:pt>
                <c:pt idx="321">
                  <c:v>44426</c:v>
                </c:pt>
                <c:pt idx="322">
                  <c:v>44425</c:v>
                </c:pt>
                <c:pt idx="323">
                  <c:v>44424</c:v>
                </c:pt>
                <c:pt idx="324">
                  <c:v>44421</c:v>
                </c:pt>
                <c:pt idx="325">
                  <c:v>44420</c:v>
                </c:pt>
                <c:pt idx="326">
                  <c:v>44419</c:v>
                </c:pt>
                <c:pt idx="327">
                  <c:v>44418</c:v>
                </c:pt>
                <c:pt idx="328">
                  <c:v>44417</c:v>
                </c:pt>
                <c:pt idx="329">
                  <c:v>44414</c:v>
                </c:pt>
                <c:pt idx="330">
                  <c:v>44413</c:v>
                </c:pt>
                <c:pt idx="331">
                  <c:v>44412</c:v>
                </c:pt>
                <c:pt idx="332">
                  <c:v>44411</c:v>
                </c:pt>
                <c:pt idx="333">
                  <c:v>44410</c:v>
                </c:pt>
                <c:pt idx="334">
                  <c:v>44407</c:v>
                </c:pt>
                <c:pt idx="335">
                  <c:v>44406</c:v>
                </c:pt>
                <c:pt idx="336">
                  <c:v>44405</c:v>
                </c:pt>
                <c:pt idx="337">
                  <c:v>44404</c:v>
                </c:pt>
                <c:pt idx="338">
                  <c:v>44403</c:v>
                </c:pt>
                <c:pt idx="339">
                  <c:v>44400</c:v>
                </c:pt>
                <c:pt idx="340">
                  <c:v>44399</c:v>
                </c:pt>
                <c:pt idx="341">
                  <c:v>44398</c:v>
                </c:pt>
                <c:pt idx="342">
                  <c:v>44397</c:v>
                </c:pt>
                <c:pt idx="343">
                  <c:v>44396</c:v>
                </c:pt>
                <c:pt idx="344">
                  <c:v>44393</c:v>
                </c:pt>
                <c:pt idx="345">
                  <c:v>44392</c:v>
                </c:pt>
                <c:pt idx="346">
                  <c:v>44391</c:v>
                </c:pt>
                <c:pt idx="347">
                  <c:v>44390</c:v>
                </c:pt>
                <c:pt idx="348">
                  <c:v>44389</c:v>
                </c:pt>
                <c:pt idx="349">
                  <c:v>44386</c:v>
                </c:pt>
                <c:pt idx="350">
                  <c:v>44385</c:v>
                </c:pt>
                <c:pt idx="351">
                  <c:v>44384</c:v>
                </c:pt>
                <c:pt idx="352">
                  <c:v>44383</c:v>
                </c:pt>
                <c:pt idx="353">
                  <c:v>44382</c:v>
                </c:pt>
                <c:pt idx="354">
                  <c:v>44379</c:v>
                </c:pt>
                <c:pt idx="355">
                  <c:v>44378</c:v>
                </c:pt>
                <c:pt idx="356">
                  <c:v>44377</c:v>
                </c:pt>
                <c:pt idx="357">
                  <c:v>44376</c:v>
                </c:pt>
                <c:pt idx="358">
                  <c:v>44375</c:v>
                </c:pt>
                <c:pt idx="359">
                  <c:v>44372</c:v>
                </c:pt>
                <c:pt idx="360">
                  <c:v>44371</c:v>
                </c:pt>
                <c:pt idx="361">
                  <c:v>44370</c:v>
                </c:pt>
                <c:pt idx="362">
                  <c:v>44369</c:v>
                </c:pt>
                <c:pt idx="363">
                  <c:v>44368</c:v>
                </c:pt>
                <c:pt idx="364">
                  <c:v>44365</c:v>
                </c:pt>
                <c:pt idx="365">
                  <c:v>44364</c:v>
                </c:pt>
                <c:pt idx="366">
                  <c:v>44363</c:v>
                </c:pt>
                <c:pt idx="367">
                  <c:v>44362</c:v>
                </c:pt>
                <c:pt idx="368">
                  <c:v>44361</c:v>
                </c:pt>
                <c:pt idx="369">
                  <c:v>44358</c:v>
                </c:pt>
                <c:pt idx="370">
                  <c:v>44357</c:v>
                </c:pt>
                <c:pt idx="371">
                  <c:v>44356</c:v>
                </c:pt>
                <c:pt idx="372">
                  <c:v>44355</c:v>
                </c:pt>
                <c:pt idx="373">
                  <c:v>44354</c:v>
                </c:pt>
                <c:pt idx="374">
                  <c:v>44351</c:v>
                </c:pt>
                <c:pt idx="375">
                  <c:v>44350</c:v>
                </c:pt>
                <c:pt idx="376">
                  <c:v>44349</c:v>
                </c:pt>
                <c:pt idx="377">
                  <c:v>44348</c:v>
                </c:pt>
                <c:pt idx="378">
                  <c:v>44347</c:v>
                </c:pt>
                <c:pt idx="379">
                  <c:v>44344</c:v>
                </c:pt>
                <c:pt idx="380">
                  <c:v>44343</c:v>
                </c:pt>
                <c:pt idx="381">
                  <c:v>44342</c:v>
                </c:pt>
                <c:pt idx="382">
                  <c:v>44341</c:v>
                </c:pt>
                <c:pt idx="383">
                  <c:v>44340</c:v>
                </c:pt>
                <c:pt idx="384">
                  <c:v>44337</c:v>
                </c:pt>
                <c:pt idx="385">
                  <c:v>44336</c:v>
                </c:pt>
                <c:pt idx="386">
                  <c:v>44335</c:v>
                </c:pt>
                <c:pt idx="387">
                  <c:v>44334</c:v>
                </c:pt>
                <c:pt idx="388">
                  <c:v>44333</c:v>
                </c:pt>
                <c:pt idx="389">
                  <c:v>44330</c:v>
                </c:pt>
                <c:pt idx="390">
                  <c:v>44329</c:v>
                </c:pt>
                <c:pt idx="391">
                  <c:v>44328</c:v>
                </c:pt>
                <c:pt idx="392">
                  <c:v>44327</c:v>
                </c:pt>
                <c:pt idx="393">
                  <c:v>44326</c:v>
                </c:pt>
                <c:pt idx="394">
                  <c:v>44323</c:v>
                </c:pt>
                <c:pt idx="395">
                  <c:v>44322</c:v>
                </c:pt>
                <c:pt idx="396">
                  <c:v>44321</c:v>
                </c:pt>
                <c:pt idx="397">
                  <c:v>44320</c:v>
                </c:pt>
                <c:pt idx="398">
                  <c:v>44319</c:v>
                </c:pt>
                <c:pt idx="399">
                  <c:v>44316</c:v>
                </c:pt>
                <c:pt idx="400">
                  <c:v>44315</c:v>
                </c:pt>
                <c:pt idx="401">
                  <c:v>44314</c:v>
                </c:pt>
                <c:pt idx="402">
                  <c:v>44313</c:v>
                </c:pt>
                <c:pt idx="403">
                  <c:v>44312</c:v>
                </c:pt>
                <c:pt idx="404">
                  <c:v>44309</c:v>
                </c:pt>
                <c:pt idx="405">
                  <c:v>44308</c:v>
                </c:pt>
                <c:pt idx="406">
                  <c:v>44307</c:v>
                </c:pt>
                <c:pt idx="407">
                  <c:v>44306</c:v>
                </c:pt>
                <c:pt idx="408">
                  <c:v>44305</c:v>
                </c:pt>
                <c:pt idx="409">
                  <c:v>44302</c:v>
                </c:pt>
                <c:pt idx="410">
                  <c:v>44301</c:v>
                </c:pt>
                <c:pt idx="411">
                  <c:v>44300</c:v>
                </c:pt>
                <c:pt idx="412">
                  <c:v>44299</c:v>
                </c:pt>
                <c:pt idx="413">
                  <c:v>44298</c:v>
                </c:pt>
                <c:pt idx="414">
                  <c:v>44295</c:v>
                </c:pt>
                <c:pt idx="415">
                  <c:v>44294</c:v>
                </c:pt>
                <c:pt idx="416">
                  <c:v>44293</c:v>
                </c:pt>
                <c:pt idx="417">
                  <c:v>44292</c:v>
                </c:pt>
                <c:pt idx="418">
                  <c:v>44287</c:v>
                </c:pt>
                <c:pt idx="419">
                  <c:v>44286</c:v>
                </c:pt>
                <c:pt idx="420">
                  <c:v>44285</c:v>
                </c:pt>
                <c:pt idx="421">
                  <c:v>44284</c:v>
                </c:pt>
                <c:pt idx="422">
                  <c:v>44281</c:v>
                </c:pt>
                <c:pt idx="423">
                  <c:v>44280</c:v>
                </c:pt>
                <c:pt idx="424">
                  <c:v>44279</c:v>
                </c:pt>
                <c:pt idx="425">
                  <c:v>44278</c:v>
                </c:pt>
                <c:pt idx="426">
                  <c:v>44277</c:v>
                </c:pt>
                <c:pt idx="427">
                  <c:v>44274</c:v>
                </c:pt>
                <c:pt idx="428">
                  <c:v>44273</c:v>
                </c:pt>
                <c:pt idx="429">
                  <c:v>44272</c:v>
                </c:pt>
                <c:pt idx="430">
                  <c:v>44271</c:v>
                </c:pt>
                <c:pt idx="431">
                  <c:v>44270</c:v>
                </c:pt>
                <c:pt idx="432">
                  <c:v>44267</c:v>
                </c:pt>
                <c:pt idx="433">
                  <c:v>44266</c:v>
                </c:pt>
                <c:pt idx="434">
                  <c:v>44265</c:v>
                </c:pt>
                <c:pt idx="435">
                  <c:v>44264</c:v>
                </c:pt>
                <c:pt idx="436">
                  <c:v>44263</c:v>
                </c:pt>
                <c:pt idx="437">
                  <c:v>44260</c:v>
                </c:pt>
                <c:pt idx="438">
                  <c:v>44259</c:v>
                </c:pt>
                <c:pt idx="439">
                  <c:v>44258</c:v>
                </c:pt>
                <c:pt idx="440">
                  <c:v>44257</c:v>
                </c:pt>
                <c:pt idx="441">
                  <c:v>44256</c:v>
                </c:pt>
                <c:pt idx="442">
                  <c:v>44253</c:v>
                </c:pt>
                <c:pt idx="443">
                  <c:v>44252</c:v>
                </c:pt>
                <c:pt idx="444">
                  <c:v>44251</c:v>
                </c:pt>
                <c:pt idx="445">
                  <c:v>44250</c:v>
                </c:pt>
                <c:pt idx="446">
                  <c:v>44249</c:v>
                </c:pt>
                <c:pt idx="447">
                  <c:v>44246</c:v>
                </c:pt>
                <c:pt idx="448">
                  <c:v>44245</c:v>
                </c:pt>
                <c:pt idx="449">
                  <c:v>44244</c:v>
                </c:pt>
                <c:pt idx="450">
                  <c:v>44243</c:v>
                </c:pt>
                <c:pt idx="451">
                  <c:v>44242</c:v>
                </c:pt>
                <c:pt idx="452">
                  <c:v>44239</c:v>
                </c:pt>
                <c:pt idx="453">
                  <c:v>44238</c:v>
                </c:pt>
                <c:pt idx="454">
                  <c:v>44237</c:v>
                </c:pt>
                <c:pt idx="455">
                  <c:v>44236</c:v>
                </c:pt>
                <c:pt idx="456">
                  <c:v>44235</c:v>
                </c:pt>
                <c:pt idx="457">
                  <c:v>44232</c:v>
                </c:pt>
                <c:pt idx="458">
                  <c:v>44231</c:v>
                </c:pt>
                <c:pt idx="459">
                  <c:v>44230</c:v>
                </c:pt>
                <c:pt idx="460">
                  <c:v>44229</c:v>
                </c:pt>
                <c:pt idx="461">
                  <c:v>44228</c:v>
                </c:pt>
                <c:pt idx="462">
                  <c:v>44225</c:v>
                </c:pt>
                <c:pt idx="463">
                  <c:v>44224</c:v>
                </c:pt>
                <c:pt idx="464">
                  <c:v>44223</c:v>
                </c:pt>
                <c:pt idx="465">
                  <c:v>44222</c:v>
                </c:pt>
                <c:pt idx="466">
                  <c:v>44221</c:v>
                </c:pt>
                <c:pt idx="467">
                  <c:v>44218</c:v>
                </c:pt>
                <c:pt idx="468">
                  <c:v>44217</c:v>
                </c:pt>
                <c:pt idx="469">
                  <c:v>44216</c:v>
                </c:pt>
                <c:pt idx="470">
                  <c:v>44215</c:v>
                </c:pt>
                <c:pt idx="471">
                  <c:v>44214</c:v>
                </c:pt>
                <c:pt idx="472">
                  <c:v>44211</c:v>
                </c:pt>
                <c:pt idx="473">
                  <c:v>44210</c:v>
                </c:pt>
                <c:pt idx="474">
                  <c:v>44209</c:v>
                </c:pt>
                <c:pt idx="475">
                  <c:v>44208</c:v>
                </c:pt>
                <c:pt idx="476">
                  <c:v>44207</c:v>
                </c:pt>
                <c:pt idx="477">
                  <c:v>44204</c:v>
                </c:pt>
                <c:pt idx="478">
                  <c:v>44203</c:v>
                </c:pt>
                <c:pt idx="479">
                  <c:v>44202</c:v>
                </c:pt>
                <c:pt idx="480">
                  <c:v>44201</c:v>
                </c:pt>
              </c:numCache>
            </c:numRef>
          </c:cat>
          <c:val>
            <c:numRef>
              <c:f>Prices!$C$2:$C$482</c:f>
              <c:numCache>
                <c:formatCode>General</c:formatCode>
                <c:ptCount val="481"/>
                <c:pt idx="0">
                  <c:v>114.825</c:v>
                </c:pt>
                <c:pt idx="1">
                  <c:v>98.474999999999994</c:v>
                </c:pt>
                <c:pt idx="2">
                  <c:v>109.7</c:v>
                </c:pt>
                <c:pt idx="3">
                  <c:v>112.5</c:v>
                </c:pt>
                <c:pt idx="4">
                  <c:v>116.625</c:v>
                </c:pt>
                <c:pt idx="5">
                  <c:v>111.425</c:v>
                </c:pt>
                <c:pt idx="6">
                  <c:v>114.85</c:v>
                </c:pt>
                <c:pt idx="7">
                  <c:v>124.675</c:v>
                </c:pt>
                <c:pt idx="8">
                  <c:v>129</c:v>
                </c:pt>
                <c:pt idx="9">
                  <c:v>115.55</c:v>
                </c:pt>
                <c:pt idx="10">
                  <c:v>80</c:v>
                </c:pt>
                <c:pt idx="11">
                  <c:v>107.55</c:v>
                </c:pt>
                <c:pt idx="12">
                  <c:v>105.8</c:v>
                </c:pt>
                <c:pt idx="13">
                  <c:v>101.1</c:v>
                </c:pt>
                <c:pt idx="14">
                  <c:v>99.974999999999994</c:v>
                </c:pt>
                <c:pt idx="15">
                  <c:v>96.375</c:v>
                </c:pt>
                <c:pt idx="16">
                  <c:v>113.97499999999999</c:v>
                </c:pt>
                <c:pt idx="17">
                  <c:v>124</c:v>
                </c:pt>
                <c:pt idx="18">
                  <c:v>115</c:v>
                </c:pt>
                <c:pt idx="19">
                  <c:v>112.55</c:v>
                </c:pt>
                <c:pt idx="20">
                  <c:v>125.2</c:v>
                </c:pt>
                <c:pt idx="21">
                  <c:v>140.5</c:v>
                </c:pt>
                <c:pt idx="22">
                  <c:v>153.6</c:v>
                </c:pt>
                <c:pt idx="23">
                  <c:v>159.94999999999999</c:v>
                </c:pt>
                <c:pt idx="24">
                  <c:v>154.42500000000001</c:v>
                </c:pt>
                <c:pt idx="25">
                  <c:v>157.44999999999999</c:v>
                </c:pt>
                <c:pt idx="26">
                  <c:v>155.1</c:v>
                </c:pt>
                <c:pt idx="27">
                  <c:v>172.52500000000001</c:v>
                </c:pt>
                <c:pt idx="28">
                  <c:v>178</c:v>
                </c:pt>
                <c:pt idx="29">
                  <c:v>162.52500000000001</c:v>
                </c:pt>
                <c:pt idx="30">
                  <c:v>168.5</c:v>
                </c:pt>
                <c:pt idx="31">
                  <c:v>164.5</c:v>
                </c:pt>
                <c:pt idx="32">
                  <c:v>184.5</c:v>
                </c:pt>
                <c:pt idx="33">
                  <c:v>203.45</c:v>
                </c:pt>
                <c:pt idx="34">
                  <c:v>207</c:v>
                </c:pt>
                <c:pt idx="35">
                  <c:v>172.75</c:v>
                </c:pt>
                <c:pt idx="36">
                  <c:v>179.2</c:v>
                </c:pt>
                <c:pt idx="37">
                  <c:v>188</c:v>
                </c:pt>
                <c:pt idx="38">
                  <c:v>183</c:v>
                </c:pt>
                <c:pt idx="39">
                  <c:v>197.5</c:v>
                </c:pt>
                <c:pt idx="41">
                  <c:v>192.97499999999999</c:v>
                </c:pt>
                <c:pt idx="42">
                  <c:v>212.25</c:v>
                </c:pt>
                <c:pt idx="43">
                  <c:v>224.95</c:v>
                </c:pt>
                <c:pt idx="44">
                  <c:v>203.4</c:v>
                </c:pt>
                <c:pt idx="45">
                  <c:v>191.97499999999999</c:v>
                </c:pt>
                <c:pt idx="46">
                  <c:v>205.7</c:v>
                </c:pt>
                <c:pt idx="47">
                  <c:v>216.02500000000001</c:v>
                </c:pt>
                <c:pt idx="48">
                  <c:v>211.5</c:v>
                </c:pt>
                <c:pt idx="49">
                  <c:v>237.97499999999999</c:v>
                </c:pt>
                <c:pt idx="50">
                  <c:v>248.6</c:v>
                </c:pt>
                <c:pt idx="51">
                  <c:v>206.9</c:v>
                </c:pt>
                <c:pt idx="52">
                  <c:v>245.52500000000001</c:v>
                </c:pt>
                <c:pt idx="53">
                  <c:v>231</c:v>
                </c:pt>
                <c:pt idx="54">
                  <c:v>244.625</c:v>
                </c:pt>
                <c:pt idx="56">
                  <c:v>319.97500000000002</c:v>
                </c:pt>
                <c:pt idx="57">
                  <c:v>311.45</c:v>
                </c:pt>
                <c:pt idx="58">
                  <c:v>294.5</c:v>
                </c:pt>
                <c:pt idx="59">
                  <c:v>264.875</c:v>
                </c:pt>
                <c:pt idx="60">
                  <c:v>285.07499999999999</c:v>
                </c:pt>
                <c:pt idx="61">
                  <c:v>247.5</c:v>
                </c:pt>
                <c:pt idx="62">
                  <c:v>239.5</c:v>
                </c:pt>
                <c:pt idx="63">
                  <c:v>226.65</c:v>
                </c:pt>
                <c:pt idx="64">
                  <c:v>222.2</c:v>
                </c:pt>
                <c:pt idx="65">
                  <c:v>221.47499999999999</c:v>
                </c:pt>
                <c:pt idx="66">
                  <c:v>206</c:v>
                </c:pt>
                <c:pt idx="67">
                  <c:v>207.4</c:v>
                </c:pt>
                <c:pt idx="68">
                  <c:v>205.82499999999999</c:v>
                </c:pt>
                <c:pt idx="69">
                  <c:v>193.3</c:v>
                </c:pt>
                <c:pt idx="70">
                  <c:v>192.32499999999999</c:v>
                </c:pt>
                <c:pt idx="71">
                  <c:v>195.4</c:v>
                </c:pt>
                <c:pt idx="72">
                  <c:v>199.3</c:v>
                </c:pt>
                <c:pt idx="73">
                  <c:v>198.9</c:v>
                </c:pt>
                <c:pt idx="74">
                  <c:v>203.7</c:v>
                </c:pt>
                <c:pt idx="75">
                  <c:v>200.92500000000001</c:v>
                </c:pt>
                <c:pt idx="76">
                  <c:v>192.5</c:v>
                </c:pt>
                <c:pt idx="77">
                  <c:v>200.5</c:v>
                </c:pt>
                <c:pt idx="78">
                  <c:v>205</c:v>
                </c:pt>
                <c:pt idx="79">
                  <c:v>199.95</c:v>
                </c:pt>
                <c:pt idx="80">
                  <c:v>175.05</c:v>
                </c:pt>
                <c:pt idx="81">
                  <c:v>161.19999999999999</c:v>
                </c:pt>
                <c:pt idx="82">
                  <c:v>155.97499999999999</c:v>
                </c:pt>
                <c:pt idx="83">
                  <c:v>155</c:v>
                </c:pt>
                <c:pt idx="84">
                  <c:v>153.97499999999999</c:v>
                </c:pt>
                <c:pt idx="85">
                  <c:v>156.42500000000001</c:v>
                </c:pt>
                <c:pt idx="86">
                  <c:v>159.5</c:v>
                </c:pt>
                <c:pt idx="87">
                  <c:v>174.72499999999999</c:v>
                </c:pt>
                <c:pt idx="88">
                  <c:v>182.7</c:v>
                </c:pt>
                <c:pt idx="89">
                  <c:v>174.1</c:v>
                </c:pt>
                <c:pt idx="90">
                  <c:v>163.65</c:v>
                </c:pt>
                <c:pt idx="91">
                  <c:v>168.97499999999999</c:v>
                </c:pt>
                <c:pt idx="92">
                  <c:v>185.7</c:v>
                </c:pt>
                <c:pt idx="93">
                  <c:v>172.47499999999999</c:v>
                </c:pt>
                <c:pt idx="94">
                  <c:v>161.30000000000001</c:v>
                </c:pt>
                <c:pt idx="95">
                  <c:v>162</c:v>
                </c:pt>
                <c:pt idx="96">
                  <c:v>145.82499999999999</c:v>
                </c:pt>
                <c:pt idx="97">
                  <c:v>143.4</c:v>
                </c:pt>
                <c:pt idx="98">
                  <c:v>138.4</c:v>
                </c:pt>
                <c:pt idx="99">
                  <c:v>129.9</c:v>
                </c:pt>
                <c:pt idx="100">
                  <c:v>129.15</c:v>
                </c:pt>
                <c:pt idx="101">
                  <c:v>129</c:v>
                </c:pt>
                <c:pt idx="102">
                  <c:v>132.22499999999999</c:v>
                </c:pt>
                <c:pt idx="103">
                  <c:v>127.75</c:v>
                </c:pt>
                <c:pt idx="104">
                  <c:v>125.52500000000001</c:v>
                </c:pt>
                <c:pt idx="105">
                  <c:v>122.52500000000001</c:v>
                </c:pt>
                <c:pt idx="106">
                  <c:v>118.5</c:v>
                </c:pt>
                <c:pt idx="107">
                  <c:v>120.35</c:v>
                </c:pt>
                <c:pt idx="108">
                  <c:v>114</c:v>
                </c:pt>
                <c:pt idx="109">
                  <c:v>96.15</c:v>
                </c:pt>
                <c:pt idx="110">
                  <c:v>83.025000000000006</c:v>
                </c:pt>
                <c:pt idx="111">
                  <c:v>83</c:v>
                </c:pt>
                <c:pt idx="112">
                  <c:v>84.65</c:v>
                </c:pt>
                <c:pt idx="113">
                  <c:v>78.400000000000006</c:v>
                </c:pt>
                <c:pt idx="114">
                  <c:v>79.400000000000006</c:v>
                </c:pt>
                <c:pt idx="115">
                  <c:v>81.325000000000003</c:v>
                </c:pt>
                <c:pt idx="118">
                  <c:v>82.7</c:v>
                </c:pt>
                <c:pt idx="119">
                  <c:v>89</c:v>
                </c:pt>
                <c:pt idx="120">
                  <c:v>86.825000000000003</c:v>
                </c:pt>
                <c:pt idx="121">
                  <c:v>86.75</c:v>
                </c:pt>
                <c:pt idx="122">
                  <c:v>85</c:v>
                </c:pt>
                <c:pt idx="123">
                  <c:v>86.65</c:v>
                </c:pt>
                <c:pt idx="124">
                  <c:v>84.5</c:v>
                </c:pt>
                <c:pt idx="125">
                  <c:v>84.375</c:v>
                </c:pt>
                <c:pt idx="126">
                  <c:v>87.4</c:v>
                </c:pt>
                <c:pt idx="127">
                  <c:v>89.6</c:v>
                </c:pt>
                <c:pt idx="128">
                  <c:v>93.1</c:v>
                </c:pt>
                <c:pt idx="129">
                  <c:v>94.5</c:v>
                </c:pt>
                <c:pt idx="130">
                  <c:v>92.55</c:v>
                </c:pt>
                <c:pt idx="131">
                  <c:v>96.25</c:v>
                </c:pt>
                <c:pt idx="132">
                  <c:v>105.375</c:v>
                </c:pt>
                <c:pt idx="133">
                  <c:v>94.9</c:v>
                </c:pt>
                <c:pt idx="134">
                  <c:v>94.6</c:v>
                </c:pt>
                <c:pt idx="135">
                  <c:v>93.174999999999997</c:v>
                </c:pt>
                <c:pt idx="136">
                  <c:v>99.5</c:v>
                </c:pt>
                <c:pt idx="137">
                  <c:v>107</c:v>
                </c:pt>
                <c:pt idx="138">
                  <c:v>104.25</c:v>
                </c:pt>
                <c:pt idx="139">
                  <c:v>98.4</c:v>
                </c:pt>
                <c:pt idx="141">
                  <c:v>97.85</c:v>
                </c:pt>
                <c:pt idx="142">
                  <c:v>99.5</c:v>
                </c:pt>
                <c:pt idx="143">
                  <c:v>105.5</c:v>
                </c:pt>
                <c:pt idx="144">
                  <c:v>98.025000000000006</c:v>
                </c:pt>
                <c:pt idx="145">
                  <c:v>92.924999999999997</c:v>
                </c:pt>
                <c:pt idx="146">
                  <c:v>94.75</c:v>
                </c:pt>
                <c:pt idx="147">
                  <c:v>100.65</c:v>
                </c:pt>
                <c:pt idx="148">
                  <c:v>92.875</c:v>
                </c:pt>
                <c:pt idx="149">
                  <c:v>93.05</c:v>
                </c:pt>
                <c:pt idx="150">
                  <c:v>89.125</c:v>
                </c:pt>
                <c:pt idx="151">
                  <c:v>103.825</c:v>
                </c:pt>
                <c:pt idx="152">
                  <c:v>102.75</c:v>
                </c:pt>
                <c:pt idx="153">
                  <c:v>100.05</c:v>
                </c:pt>
                <c:pt idx="154">
                  <c:v>102.5</c:v>
                </c:pt>
                <c:pt idx="155">
                  <c:v>104.6</c:v>
                </c:pt>
                <c:pt idx="156">
                  <c:v>108</c:v>
                </c:pt>
                <c:pt idx="157">
                  <c:v>106.95</c:v>
                </c:pt>
                <c:pt idx="158">
                  <c:v>108.02500000000001</c:v>
                </c:pt>
                <c:pt idx="159">
                  <c:v>111.5</c:v>
                </c:pt>
                <c:pt idx="160">
                  <c:v>122</c:v>
                </c:pt>
                <c:pt idx="161">
                  <c:v>117.5</c:v>
                </c:pt>
                <c:pt idx="162">
                  <c:v>106.5</c:v>
                </c:pt>
                <c:pt idx="163">
                  <c:v>104.7</c:v>
                </c:pt>
                <c:pt idx="164">
                  <c:v>98.7</c:v>
                </c:pt>
                <c:pt idx="165">
                  <c:v>106.8</c:v>
                </c:pt>
                <c:pt idx="166">
                  <c:v>114.25</c:v>
                </c:pt>
                <c:pt idx="167">
                  <c:v>98.474999999999994</c:v>
                </c:pt>
                <c:pt idx="168">
                  <c:v>95.1</c:v>
                </c:pt>
                <c:pt idx="169">
                  <c:v>101.27500000000001</c:v>
                </c:pt>
                <c:pt idx="170">
                  <c:v>105.02500000000001</c:v>
                </c:pt>
                <c:pt idx="171">
                  <c:v>102.5</c:v>
                </c:pt>
                <c:pt idx="172">
                  <c:v>112.4</c:v>
                </c:pt>
                <c:pt idx="173">
                  <c:v>111.45</c:v>
                </c:pt>
                <c:pt idx="174">
                  <c:v>132.94999999999999</c:v>
                </c:pt>
                <c:pt idx="175">
                  <c:v>128</c:v>
                </c:pt>
                <c:pt idx="176">
                  <c:v>153.5</c:v>
                </c:pt>
                <c:pt idx="177">
                  <c:v>212.15</c:v>
                </c:pt>
                <c:pt idx="178">
                  <c:v>208</c:v>
                </c:pt>
                <c:pt idx="179">
                  <c:v>195.02500000000001</c:v>
                </c:pt>
                <c:pt idx="180">
                  <c:v>143.52500000000001</c:v>
                </c:pt>
                <c:pt idx="181">
                  <c:v>174.92500000000001</c:v>
                </c:pt>
                <c:pt idx="182">
                  <c:v>123.6</c:v>
                </c:pt>
                <c:pt idx="183">
                  <c:v>96</c:v>
                </c:pt>
                <c:pt idx="184">
                  <c:v>90.1</c:v>
                </c:pt>
                <c:pt idx="185">
                  <c:v>115</c:v>
                </c:pt>
                <c:pt idx="186">
                  <c:v>88.674999999999997</c:v>
                </c:pt>
                <c:pt idx="187">
                  <c:v>79.075000000000003</c:v>
                </c:pt>
                <c:pt idx="188">
                  <c:v>71.5</c:v>
                </c:pt>
                <c:pt idx="189">
                  <c:v>73.3</c:v>
                </c:pt>
                <c:pt idx="190">
                  <c:v>74.825000000000003</c:v>
                </c:pt>
                <c:pt idx="191">
                  <c:v>69.8</c:v>
                </c:pt>
                <c:pt idx="192">
                  <c:v>68.05</c:v>
                </c:pt>
                <c:pt idx="193">
                  <c:v>79.400000000000006</c:v>
                </c:pt>
                <c:pt idx="194">
                  <c:v>76.375</c:v>
                </c:pt>
                <c:pt idx="195">
                  <c:v>74.400000000000006</c:v>
                </c:pt>
                <c:pt idx="196">
                  <c:v>75.125</c:v>
                </c:pt>
                <c:pt idx="197">
                  <c:v>75.474999999999994</c:v>
                </c:pt>
                <c:pt idx="198">
                  <c:v>78</c:v>
                </c:pt>
                <c:pt idx="199">
                  <c:v>81.5</c:v>
                </c:pt>
                <c:pt idx="200">
                  <c:v>80.2</c:v>
                </c:pt>
                <c:pt idx="201">
                  <c:v>76.875</c:v>
                </c:pt>
                <c:pt idx="202">
                  <c:v>75.849999999999994</c:v>
                </c:pt>
                <c:pt idx="203">
                  <c:v>84.05</c:v>
                </c:pt>
                <c:pt idx="204">
                  <c:v>91.025000000000006</c:v>
                </c:pt>
                <c:pt idx="205">
                  <c:v>90.25</c:v>
                </c:pt>
                <c:pt idx="206">
                  <c:v>90.5</c:v>
                </c:pt>
                <c:pt idx="207">
                  <c:v>91.775000000000006</c:v>
                </c:pt>
                <c:pt idx="208">
                  <c:v>90.65</c:v>
                </c:pt>
                <c:pt idx="209">
                  <c:v>79.825000000000003</c:v>
                </c:pt>
                <c:pt idx="210">
                  <c:v>75.55</c:v>
                </c:pt>
                <c:pt idx="211">
                  <c:v>74.099999999999994</c:v>
                </c:pt>
                <c:pt idx="212">
                  <c:v>80</c:v>
                </c:pt>
                <c:pt idx="213">
                  <c:v>76.025000000000006</c:v>
                </c:pt>
                <c:pt idx="214">
                  <c:v>84.325000000000003</c:v>
                </c:pt>
                <c:pt idx="215">
                  <c:v>84.3</c:v>
                </c:pt>
                <c:pt idx="216">
                  <c:v>75.125</c:v>
                </c:pt>
                <c:pt idx="217">
                  <c:v>80.5</c:v>
                </c:pt>
                <c:pt idx="218">
                  <c:v>84.25</c:v>
                </c:pt>
                <c:pt idx="219">
                  <c:v>87.275000000000006</c:v>
                </c:pt>
                <c:pt idx="220">
                  <c:v>97.174999999999997</c:v>
                </c:pt>
                <c:pt idx="221">
                  <c:v>94.25</c:v>
                </c:pt>
                <c:pt idx="222">
                  <c:v>85.75</c:v>
                </c:pt>
                <c:pt idx="224">
                  <c:v>65</c:v>
                </c:pt>
                <c:pt idx="225">
                  <c:v>84.5</c:v>
                </c:pt>
                <c:pt idx="226">
                  <c:v>95.924999999999997</c:v>
                </c:pt>
                <c:pt idx="229">
                  <c:v>98.775000000000006</c:v>
                </c:pt>
                <c:pt idx="230">
                  <c:v>125.77500000000001</c:v>
                </c:pt>
                <c:pt idx="231">
                  <c:v>165.5</c:v>
                </c:pt>
                <c:pt idx="232">
                  <c:v>180.3</c:v>
                </c:pt>
                <c:pt idx="233">
                  <c:v>146.44999999999999</c:v>
                </c:pt>
                <c:pt idx="234">
                  <c:v>135.30000000000001</c:v>
                </c:pt>
                <c:pt idx="235">
                  <c:v>134.6</c:v>
                </c:pt>
                <c:pt idx="236">
                  <c:v>129.5</c:v>
                </c:pt>
                <c:pt idx="237">
                  <c:v>127.4</c:v>
                </c:pt>
                <c:pt idx="238">
                  <c:v>116.1</c:v>
                </c:pt>
                <c:pt idx="239">
                  <c:v>104.5</c:v>
                </c:pt>
                <c:pt idx="240">
                  <c:v>100.55</c:v>
                </c:pt>
                <c:pt idx="241">
                  <c:v>102</c:v>
                </c:pt>
                <c:pt idx="242">
                  <c:v>95.3</c:v>
                </c:pt>
                <c:pt idx="243">
                  <c:v>89.3</c:v>
                </c:pt>
                <c:pt idx="244">
                  <c:v>88.974999999999994</c:v>
                </c:pt>
                <c:pt idx="245">
                  <c:v>92.4</c:v>
                </c:pt>
                <c:pt idx="246">
                  <c:v>95.2</c:v>
                </c:pt>
                <c:pt idx="247">
                  <c:v>91.35</c:v>
                </c:pt>
                <c:pt idx="248">
                  <c:v>93.8</c:v>
                </c:pt>
                <c:pt idx="249">
                  <c:v>87.45</c:v>
                </c:pt>
                <c:pt idx="250">
                  <c:v>92.375</c:v>
                </c:pt>
                <c:pt idx="251">
                  <c:v>93.8</c:v>
                </c:pt>
                <c:pt idx="252">
                  <c:v>91.325000000000003</c:v>
                </c:pt>
                <c:pt idx="253">
                  <c:v>84.7</c:v>
                </c:pt>
                <c:pt idx="254">
                  <c:v>87</c:v>
                </c:pt>
                <c:pt idx="255">
                  <c:v>93.85</c:v>
                </c:pt>
                <c:pt idx="256">
                  <c:v>94.65</c:v>
                </c:pt>
                <c:pt idx="257">
                  <c:v>94.5</c:v>
                </c:pt>
                <c:pt idx="258">
                  <c:v>80.599999999999994</c:v>
                </c:pt>
                <c:pt idx="259">
                  <c:v>74.599999999999994</c:v>
                </c:pt>
                <c:pt idx="260">
                  <c:v>74.8</c:v>
                </c:pt>
                <c:pt idx="261">
                  <c:v>71.3</c:v>
                </c:pt>
                <c:pt idx="262">
                  <c:v>71.224999999999994</c:v>
                </c:pt>
                <c:pt idx="263">
                  <c:v>78.224999999999994</c:v>
                </c:pt>
                <c:pt idx="264">
                  <c:v>74.099999999999994</c:v>
                </c:pt>
                <c:pt idx="265">
                  <c:v>73.849999999999994</c:v>
                </c:pt>
                <c:pt idx="266">
                  <c:v>79.974999999999994</c:v>
                </c:pt>
                <c:pt idx="267">
                  <c:v>70.8</c:v>
                </c:pt>
                <c:pt idx="268">
                  <c:v>65.400000000000006</c:v>
                </c:pt>
                <c:pt idx="269">
                  <c:v>64.3</c:v>
                </c:pt>
                <c:pt idx="270">
                  <c:v>75.400000000000006</c:v>
                </c:pt>
                <c:pt idx="271">
                  <c:v>86.7</c:v>
                </c:pt>
                <c:pt idx="272">
                  <c:v>88</c:v>
                </c:pt>
                <c:pt idx="273">
                  <c:v>88.1</c:v>
                </c:pt>
                <c:pt idx="274">
                  <c:v>87.1</c:v>
                </c:pt>
                <c:pt idx="275">
                  <c:v>87.3</c:v>
                </c:pt>
                <c:pt idx="276">
                  <c:v>94</c:v>
                </c:pt>
                <c:pt idx="277">
                  <c:v>91.3</c:v>
                </c:pt>
                <c:pt idx="278">
                  <c:v>90.5</c:v>
                </c:pt>
                <c:pt idx="279">
                  <c:v>88.5</c:v>
                </c:pt>
                <c:pt idx="280">
                  <c:v>101.175</c:v>
                </c:pt>
                <c:pt idx="281">
                  <c:v>93.25</c:v>
                </c:pt>
                <c:pt idx="282">
                  <c:v>86</c:v>
                </c:pt>
                <c:pt idx="283">
                  <c:v>83</c:v>
                </c:pt>
                <c:pt idx="284">
                  <c:v>84.575000000000003</c:v>
                </c:pt>
                <c:pt idx="285">
                  <c:v>96.85</c:v>
                </c:pt>
                <c:pt idx="286">
                  <c:v>105.5</c:v>
                </c:pt>
                <c:pt idx="287">
                  <c:v>117.3</c:v>
                </c:pt>
                <c:pt idx="288">
                  <c:v>94.174999999999997</c:v>
                </c:pt>
                <c:pt idx="289">
                  <c:v>91.7</c:v>
                </c:pt>
                <c:pt idx="290">
                  <c:v>89.9</c:v>
                </c:pt>
                <c:pt idx="291">
                  <c:v>84.4</c:v>
                </c:pt>
                <c:pt idx="292">
                  <c:v>79.25</c:v>
                </c:pt>
                <c:pt idx="293">
                  <c:v>77</c:v>
                </c:pt>
                <c:pt idx="294">
                  <c:v>70.224999999999994</c:v>
                </c:pt>
                <c:pt idx="295">
                  <c:v>68.7</c:v>
                </c:pt>
                <c:pt idx="296">
                  <c:v>70.75</c:v>
                </c:pt>
                <c:pt idx="297">
                  <c:v>72.75</c:v>
                </c:pt>
                <c:pt idx="298">
                  <c:v>73.650000000000006</c:v>
                </c:pt>
                <c:pt idx="299">
                  <c:v>65.900000000000006</c:v>
                </c:pt>
                <c:pt idx="300">
                  <c:v>61</c:v>
                </c:pt>
                <c:pt idx="301">
                  <c:v>70</c:v>
                </c:pt>
                <c:pt idx="302">
                  <c:v>66.05</c:v>
                </c:pt>
                <c:pt idx="303">
                  <c:v>61.325000000000003</c:v>
                </c:pt>
                <c:pt idx="304">
                  <c:v>57.875</c:v>
                </c:pt>
                <c:pt idx="305">
                  <c:v>56.524999999999999</c:v>
                </c:pt>
                <c:pt idx="306">
                  <c:v>55.274999999999999</c:v>
                </c:pt>
                <c:pt idx="307">
                  <c:v>53.9</c:v>
                </c:pt>
                <c:pt idx="308">
                  <c:v>52.5</c:v>
                </c:pt>
                <c:pt idx="309">
                  <c:v>51.475000000000001</c:v>
                </c:pt>
                <c:pt idx="310">
                  <c:v>51.725000000000001</c:v>
                </c:pt>
                <c:pt idx="311">
                  <c:v>49.674999999999997</c:v>
                </c:pt>
                <c:pt idx="312">
                  <c:v>50.25</c:v>
                </c:pt>
                <c:pt idx="314">
                  <c:v>47.75</c:v>
                </c:pt>
                <c:pt idx="315">
                  <c:v>45.65</c:v>
                </c:pt>
                <c:pt idx="316">
                  <c:v>45.375</c:v>
                </c:pt>
                <c:pt idx="317">
                  <c:v>45.2</c:v>
                </c:pt>
                <c:pt idx="318">
                  <c:v>42.325000000000003</c:v>
                </c:pt>
                <c:pt idx="319">
                  <c:v>41.6</c:v>
                </c:pt>
                <c:pt idx="320">
                  <c:v>40.299999999999997</c:v>
                </c:pt>
                <c:pt idx="321">
                  <c:v>44.825000000000003</c:v>
                </c:pt>
                <c:pt idx="322">
                  <c:v>46.674999999999997</c:v>
                </c:pt>
                <c:pt idx="323">
                  <c:v>47.875</c:v>
                </c:pt>
                <c:pt idx="324">
                  <c:v>44.875</c:v>
                </c:pt>
                <c:pt idx="325">
                  <c:v>45.924999999999997</c:v>
                </c:pt>
                <c:pt idx="326">
                  <c:v>46.424999999999997</c:v>
                </c:pt>
                <c:pt idx="327">
                  <c:v>44.475000000000001</c:v>
                </c:pt>
                <c:pt idx="328">
                  <c:v>43.15</c:v>
                </c:pt>
                <c:pt idx="329">
                  <c:v>43.075000000000003</c:v>
                </c:pt>
                <c:pt idx="330">
                  <c:v>43</c:v>
                </c:pt>
                <c:pt idx="331">
                  <c:v>42.2</c:v>
                </c:pt>
                <c:pt idx="332">
                  <c:v>41.424999999999997</c:v>
                </c:pt>
                <c:pt idx="333">
                  <c:v>41.95</c:v>
                </c:pt>
                <c:pt idx="334">
                  <c:v>40.549999999999997</c:v>
                </c:pt>
                <c:pt idx="335">
                  <c:v>41.25</c:v>
                </c:pt>
                <c:pt idx="336">
                  <c:v>39.774999999999999</c:v>
                </c:pt>
                <c:pt idx="337">
                  <c:v>37.325000000000003</c:v>
                </c:pt>
                <c:pt idx="338">
                  <c:v>36.975000000000001</c:v>
                </c:pt>
                <c:pt idx="339">
                  <c:v>35.325000000000003</c:v>
                </c:pt>
                <c:pt idx="340">
                  <c:v>35.6</c:v>
                </c:pt>
                <c:pt idx="341">
                  <c:v>35.625</c:v>
                </c:pt>
                <c:pt idx="342">
                  <c:v>35.25</c:v>
                </c:pt>
                <c:pt idx="343">
                  <c:v>35.65</c:v>
                </c:pt>
                <c:pt idx="344">
                  <c:v>34.975000000000001</c:v>
                </c:pt>
                <c:pt idx="345">
                  <c:v>33.65</c:v>
                </c:pt>
                <c:pt idx="346">
                  <c:v>34.1</c:v>
                </c:pt>
                <c:pt idx="347">
                  <c:v>35.225000000000001</c:v>
                </c:pt>
                <c:pt idx="348">
                  <c:v>34.549999999999997</c:v>
                </c:pt>
                <c:pt idx="349">
                  <c:v>36.825000000000003</c:v>
                </c:pt>
                <c:pt idx="350">
                  <c:v>33.825000000000003</c:v>
                </c:pt>
                <c:pt idx="351">
                  <c:v>32.375</c:v>
                </c:pt>
                <c:pt idx="352">
                  <c:v>33.6</c:v>
                </c:pt>
                <c:pt idx="353">
                  <c:v>37.75</c:v>
                </c:pt>
                <c:pt idx="354">
                  <c:v>35.774999999999999</c:v>
                </c:pt>
                <c:pt idx="355">
                  <c:v>35.674999999999997</c:v>
                </c:pt>
                <c:pt idx="356">
                  <c:v>34.85</c:v>
                </c:pt>
                <c:pt idx="357">
                  <c:v>33.5</c:v>
                </c:pt>
                <c:pt idx="358">
                  <c:v>32.25</c:v>
                </c:pt>
                <c:pt idx="359">
                  <c:v>32.274999999999999</c:v>
                </c:pt>
                <c:pt idx="360">
                  <c:v>31.95</c:v>
                </c:pt>
                <c:pt idx="361">
                  <c:v>31.375</c:v>
                </c:pt>
                <c:pt idx="362">
                  <c:v>30.8</c:v>
                </c:pt>
                <c:pt idx="363">
                  <c:v>29.4</c:v>
                </c:pt>
                <c:pt idx="364">
                  <c:v>29.475000000000001</c:v>
                </c:pt>
                <c:pt idx="365">
                  <c:v>28.475000000000001</c:v>
                </c:pt>
                <c:pt idx="366">
                  <c:v>28.2</c:v>
                </c:pt>
                <c:pt idx="367">
                  <c:v>27.975000000000001</c:v>
                </c:pt>
                <c:pt idx="368">
                  <c:v>28.675000000000001</c:v>
                </c:pt>
                <c:pt idx="369">
                  <c:v>27.85</c:v>
                </c:pt>
                <c:pt idx="370">
                  <c:v>28.175000000000001</c:v>
                </c:pt>
                <c:pt idx="371">
                  <c:v>28.1</c:v>
                </c:pt>
                <c:pt idx="372">
                  <c:v>27.824999999999999</c:v>
                </c:pt>
                <c:pt idx="373">
                  <c:v>26.55</c:v>
                </c:pt>
                <c:pt idx="374">
                  <c:v>25.8</c:v>
                </c:pt>
                <c:pt idx="375">
                  <c:v>25.824999999999999</c:v>
                </c:pt>
                <c:pt idx="376">
                  <c:v>25.625</c:v>
                </c:pt>
                <c:pt idx="377">
                  <c:v>25.875</c:v>
                </c:pt>
                <c:pt idx="379">
                  <c:v>25.074999999999999</c:v>
                </c:pt>
                <c:pt idx="380">
                  <c:v>24.95</c:v>
                </c:pt>
                <c:pt idx="381">
                  <c:v>26.274999999999999</c:v>
                </c:pt>
                <c:pt idx="382">
                  <c:v>26.25</c:v>
                </c:pt>
                <c:pt idx="383">
                  <c:v>24.625</c:v>
                </c:pt>
                <c:pt idx="384">
                  <c:v>24.625</c:v>
                </c:pt>
                <c:pt idx="385">
                  <c:v>24.574999999999999</c:v>
                </c:pt>
                <c:pt idx="386">
                  <c:v>22.574999999999999</c:v>
                </c:pt>
                <c:pt idx="387">
                  <c:v>24.65</c:v>
                </c:pt>
                <c:pt idx="388">
                  <c:v>26.05</c:v>
                </c:pt>
                <c:pt idx="389">
                  <c:v>26.75</c:v>
                </c:pt>
                <c:pt idx="390">
                  <c:v>26.024999999999999</c:v>
                </c:pt>
                <c:pt idx="391">
                  <c:v>26.074999999999999</c:v>
                </c:pt>
                <c:pt idx="392">
                  <c:v>25.725000000000001</c:v>
                </c:pt>
                <c:pt idx="393">
                  <c:v>24.975000000000001</c:v>
                </c:pt>
                <c:pt idx="394">
                  <c:v>24.024999999999999</c:v>
                </c:pt>
                <c:pt idx="395">
                  <c:v>24.324999999999999</c:v>
                </c:pt>
                <c:pt idx="396">
                  <c:v>23.925000000000001</c:v>
                </c:pt>
                <c:pt idx="397">
                  <c:v>23.1</c:v>
                </c:pt>
                <c:pt idx="399">
                  <c:v>23.3</c:v>
                </c:pt>
                <c:pt idx="400">
                  <c:v>22.35</c:v>
                </c:pt>
                <c:pt idx="401">
                  <c:v>21.524999999999999</c:v>
                </c:pt>
                <c:pt idx="402">
                  <c:v>21.475000000000001</c:v>
                </c:pt>
                <c:pt idx="403">
                  <c:v>20.125</c:v>
                </c:pt>
                <c:pt idx="404">
                  <c:v>19.824999999999999</c:v>
                </c:pt>
                <c:pt idx="405">
                  <c:v>21.274999999999999</c:v>
                </c:pt>
                <c:pt idx="406">
                  <c:v>21.15</c:v>
                </c:pt>
                <c:pt idx="407">
                  <c:v>21.024999999999999</c:v>
                </c:pt>
                <c:pt idx="408">
                  <c:v>21.024999999999999</c:v>
                </c:pt>
                <c:pt idx="409">
                  <c:v>20.55</c:v>
                </c:pt>
                <c:pt idx="410">
                  <c:v>20.350000000000001</c:v>
                </c:pt>
                <c:pt idx="411">
                  <c:v>19.675000000000001</c:v>
                </c:pt>
                <c:pt idx="412">
                  <c:v>19.5</c:v>
                </c:pt>
                <c:pt idx="413">
                  <c:v>19.725000000000001</c:v>
                </c:pt>
                <c:pt idx="414">
                  <c:v>18.95</c:v>
                </c:pt>
                <c:pt idx="415">
                  <c:v>18.975000000000001</c:v>
                </c:pt>
                <c:pt idx="416">
                  <c:v>19.2</c:v>
                </c:pt>
                <c:pt idx="417">
                  <c:v>19.725000000000001</c:v>
                </c:pt>
                <c:pt idx="418">
                  <c:v>19.05</c:v>
                </c:pt>
                <c:pt idx="419">
                  <c:v>19.024999999999999</c:v>
                </c:pt>
                <c:pt idx="420">
                  <c:v>18.774999999999999</c:v>
                </c:pt>
                <c:pt idx="421">
                  <c:v>18.375</c:v>
                </c:pt>
                <c:pt idx="422">
                  <c:v>18.7</c:v>
                </c:pt>
                <c:pt idx="423">
                  <c:v>18.274999999999999</c:v>
                </c:pt>
                <c:pt idx="424">
                  <c:v>18.425000000000001</c:v>
                </c:pt>
                <c:pt idx="425">
                  <c:v>18.274999999999999</c:v>
                </c:pt>
                <c:pt idx="426">
                  <c:v>18.05</c:v>
                </c:pt>
                <c:pt idx="427">
                  <c:v>17.274999999999999</c:v>
                </c:pt>
                <c:pt idx="428">
                  <c:v>17.574999999999999</c:v>
                </c:pt>
                <c:pt idx="429">
                  <c:v>18.074999999999999</c:v>
                </c:pt>
                <c:pt idx="430">
                  <c:v>17.425000000000001</c:v>
                </c:pt>
                <c:pt idx="431">
                  <c:v>17.95</c:v>
                </c:pt>
                <c:pt idx="432">
                  <c:v>18.350000000000001</c:v>
                </c:pt>
                <c:pt idx="433">
                  <c:v>18.05</c:v>
                </c:pt>
                <c:pt idx="434">
                  <c:v>17.625</c:v>
                </c:pt>
                <c:pt idx="435">
                  <c:v>16.975000000000001</c:v>
                </c:pt>
                <c:pt idx="436">
                  <c:v>16.175000000000001</c:v>
                </c:pt>
                <c:pt idx="437">
                  <c:v>16.375</c:v>
                </c:pt>
                <c:pt idx="438">
                  <c:v>15.9</c:v>
                </c:pt>
                <c:pt idx="439">
                  <c:v>15.5</c:v>
                </c:pt>
                <c:pt idx="440">
                  <c:v>15.75</c:v>
                </c:pt>
                <c:pt idx="441">
                  <c:v>16.125</c:v>
                </c:pt>
                <c:pt idx="442">
                  <c:v>15.7</c:v>
                </c:pt>
                <c:pt idx="443">
                  <c:v>15.8</c:v>
                </c:pt>
                <c:pt idx="444">
                  <c:v>16.350000000000001</c:v>
                </c:pt>
                <c:pt idx="445">
                  <c:v>16.324999999999999</c:v>
                </c:pt>
                <c:pt idx="446">
                  <c:v>15.875</c:v>
                </c:pt>
                <c:pt idx="447">
                  <c:v>16.475000000000001</c:v>
                </c:pt>
                <c:pt idx="448">
                  <c:v>17.2</c:v>
                </c:pt>
                <c:pt idx="449">
                  <c:v>16.399999999999999</c:v>
                </c:pt>
                <c:pt idx="450">
                  <c:v>16.75</c:v>
                </c:pt>
                <c:pt idx="451">
                  <c:v>16.5</c:v>
                </c:pt>
                <c:pt idx="452">
                  <c:v>17.574999999999999</c:v>
                </c:pt>
                <c:pt idx="453">
                  <c:v>17.45</c:v>
                </c:pt>
                <c:pt idx="454">
                  <c:v>18.475000000000001</c:v>
                </c:pt>
                <c:pt idx="455">
                  <c:v>19.125</c:v>
                </c:pt>
                <c:pt idx="456">
                  <c:v>19.675000000000001</c:v>
                </c:pt>
                <c:pt idx="457">
                  <c:v>18.3</c:v>
                </c:pt>
                <c:pt idx="458">
                  <c:v>17.95</c:v>
                </c:pt>
                <c:pt idx="459">
                  <c:v>17.824999999999999</c:v>
                </c:pt>
                <c:pt idx="460">
                  <c:v>18.100000000000001</c:v>
                </c:pt>
                <c:pt idx="461">
                  <c:v>17.975000000000001</c:v>
                </c:pt>
                <c:pt idx="462">
                  <c:v>20.125</c:v>
                </c:pt>
                <c:pt idx="463">
                  <c:v>20.95</c:v>
                </c:pt>
                <c:pt idx="464">
                  <c:v>19.625</c:v>
                </c:pt>
                <c:pt idx="465">
                  <c:v>19.524999999999999</c:v>
                </c:pt>
                <c:pt idx="466">
                  <c:v>20.100000000000001</c:v>
                </c:pt>
                <c:pt idx="467">
                  <c:v>21.574999999999999</c:v>
                </c:pt>
                <c:pt idx="468">
                  <c:v>19.875</c:v>
                </c:pt>
                <c:pt idx="469">
                  <c:v>19.95</c:v>
                </c:pt>
                <c:pt idx="470">
                  <c:v>20.324999999999999</c:v>
                </c:pt>
                <c:pt idx="471">
                  <c:v>18.899999999999999</c:v>
                </c:pt>
                <c:pt idx="472">
                  <c:v>19.95</c:v>
                </c:pt>
                <c:pt idx="473">
                  <c:v>21.05</c:v>
                </c:pt>
                <c:pt idx="474">
                  <c:v>21.574999999999999</c:v>
                </c:pt>
                <c:pt idx="475">
                  <c:v>26.5</c:v>
                </c:pt>
                <c:pt idx="476">
                  <c:v>22.324999999999999</c:v>
                </c:pt>
                <c:pt idx="477">
                  <c:v>20.350000000000001</c:v>
                </c:pt>
                <c:pt idx="478">
                  <c:v>19.399999999999999</c:v>
                </c:pt>
                <c:pt idx="479">
                  <c:v>17.574999999999999</c:v>
                </c:pt>
                <c:pt idx="480">
                  <c:v>17.8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720-4787-9214-955F59C532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34826832"/>
        <c:axId val="934827664"/>
      </c:lineChart>
      <c:dateAx>
        <c:axId val="934826832"/>
        <c:scaling>
          <c:orientation val="minMax"/>
        </c:scaling>
        <c:delete val="0"/>
        <c:axPos val="b"/>
        <c:numFmt formatCode="[$-409]mmm\-yy;@" sourceLinked="0"/>
        <c:majorTickMark val="out"/>
        <c:minorTickMark val="out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b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4827664"/>
        <c:crosses val="autoZero"/>
        <c:auto val="0"/>
        <c:lblOffset val="100"/>
        <c:baseTimeUnit val="days"/>
        <c:majorUnit val="3"/>
        <c:majorTimeUnit val="months"/>
        <c:minorUnit val="1"/>
        <c:minorTimeUnit val="months"/>
      </c:dateAx>
      <c:valAx>
        <c:axId val="934827664"/>
        <c:scaling>
          <c:orientation val="minMax"/>
          <c:max val="7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Euro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4826832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TF forward price, 1 October 2021</c:v>
                </c:pt>
              </c:strCache>
            </c:strRef>
          </c:tx>
          <c:spPr>
            <a:ln w="28575" cap="rnd">
              <a:solidFill>
                <a:srgbClr val="96CD78">
                  <a:lumMod val="40000"/>
                  <a:lumOff val="6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38</c:f>
              <c:numCache>
                <c:formatCode>mmm\-yy</c:formatCode>
                <c:ptCount val="37"/>
                <c:pt idx="0">
                  <c:v>44896</c:v>
                </c:pt>
                <c:pt idx="1">
                  <c:v>44927</c:v>
                </c:pt>
                <c:pt idx="2">
                  <c:v>44958</c:v>
                </c:pt>
                <c:pt idx="3">
                  <c:v>44986</c:v>
                </c:pt>
                <c:pt idx="4">
                  <c:v>45017</c:v>
                </c:pt>
                <c:pt idx="5">
                  <c:v>45047</c:v>
                </c:pt>
                <c:pt idx="6">
                  <c:v>45078</c:v>
                </c:pt>
                <c:pt idx="7">
                  <c:v>45108</c:v>
                </c:pt>
                <c:pt idx="8">
                  <c:v>45139</c:v>
                </c:pt>
                <c:pt idx="9">
                  <c:v>45170</c:v>
                </c:pt>
                <c:pt idx="10">
                  <c:v>45200</c:v>
                </c:pt>
                <c:pt idx="11">
                  <c:v>45231</c:v>
                </c:pt>
                <c:pt idx="12">
                  <c:v>45261</c:v>
                </c:pt>
                <c:pt idx="13">
                  <c:v>45292</c:v>
                </c:pt>
                <c:pt idx="14">
                  <c:v>45323</c:v>
                </c:pt>
                <c:pt idx="15">
                  <c:v>45352</c:v>
                </c:pt>
                <c:pt idx="16">
                  <c:v>45383</c:v>
                </c:pt>
                <c:pt idx="17">
                  <c:v>45413</c:v>
                </c:pt>
                <c:pt idx="18">
                  <c:v>45444</c:v>
                </c:pt>
                <c:pt idx="19">
                  <c:v>45474</c:v>
                </c:pt>
                <c:pt idx="20">
                  <c:v>45505</c:v>
                </c:pt>
                <c:pt idx="21">
                  <c:v>45536</c:v>
                </c:pt>
                <c:pt idx="22">
                  <c:v>45566</c:v>
                </c:pt>
                <c:pt idx="23">
                  <c:v>45597</c:v>
                </c:pt>
                <c:pt idx="24">
                  <c:v>45627</c:v>
                </c:pt>
                <c:pt idx="25">
                  <c:v>45658</c:v>
                </c:pt>
                <c:pt idx="26">
                  <c:v>45689</c:v>
                </c:pt>
                <c:pt idx="27">
                  <c:v>45717</c:v>
                </c:pt>
                <c:pt idx="28">
                  <c:v>45748</c:v>
                </c:pt>
                <c:pt idx="29">
                  <c:v>45778</c:v>
                </c:pt>
                <c:pt idx="30">
                  <c:v>45809</c:v>
                </c:pt>
                <c:pt idx="31">
                  <c:v>45839</c:v>
                </c:pt>
                <c:pt idx="32">
                  <c:v>45870</c:v>
                </c:pt>
                <c:pt idx="33">
                  <c:v>45901</c:v>
                </c:pt>
                <c:pt idx="34">
                  <c:v>45931</c:v>
                </c:pt>
                <c:pt idx="35">
                  <c:v>45962</c:v>
                </c:pt>
                <c:pt idx="36">
                  <c:v>45992</c:v>
                </c:pt>
              </c:numCache>
            </c:numRef>
          </c:cat>
          <c:val>
            <c:numRef>
              <c:f>Sheet1!$B$2:$B$38</c:f>
              <c:numCache>
                <c:formatCode>General</c:formatCode>
                <c:ptCount val="37"/>
                <c:pt idx="0">
                  <c:v>45.051000000000002</c:v>
                </c:pt>
                <c:pt idx="1">
                  <c:v>45.033000000000001</c:v>
                </c:pt>
                <c:pt idx="2">
                  <c:v>44.792999999999999</c:v>
                </c:pt>
                <c:pt idx="3">
                  <c:v>42.911000000000001</c:v>
                </c:pt>
                <c:pt idx="4">
                  <c:v>31.521000000000001</c:v>
                </c:pt>
                <c:pt idx="5">
                  <c:v>26.132000000000001</c:v>
                </c:pt>
                <c:pt idx="6">
                  <c:v>25.356999999999999</c:v>
                </c:pt>
                <c:pt idx="7">
                  <c:v>25.908000000000001</c:v>
                </c:pt>
                <c:pt idx="8">
                  <c:v>26.591999999999999</c:v>
                </c:pt>
                <c:pt idx="9">
                  <c:v>27.178999999999998</c:v>
                </c:pt>
                <c:pt idx="10">
                  <c:v>27.739000000000001</c:v>
                </c:pt>
                <c:pt idx="11">
                  <c:v>28.286000000000001</c:v>
                </c:pt>
                <c:pt idx="12">
                  <c:v>28.628</c:v>
                </c:pt>
                <c:pt idx="13">
                  <c:v>29.193999999999999</c:v>
                </c:pt>
                <c:pt idx="14">
                  <c:v>28.661000000000001</c:v>
                </c:pt>
                <c:pt idx="15">
                  <c:v>28.350999999999999</c:v>
                </c:pt>
                <c:pt idx="16">
                  <c:v>23.431999999999999</c:v>
                </c:pt>
                <c:pt idx="17">
                  <c:v>21.681999999999999</c:v>
                </c:pt>
                <c:pt idx="18">
                  <c:v>21.071000000000002</c:v>
                </c:pt>
                <c:pt idx="19">
                  <c:v>21.065999999999999</c:v>
                </c:pt>
                <c:pt idx="20">
                  <c:v>21.350999999999999</c:v>
                </c:pt>
                <c:pt idx="21">
                  <c:v>21.786000000000001</c:v>
                </c:pt>
                <c:pt idx="22">
                  <c:v>22.895</c:v>
                </c:pt>
                <c:pt idx="23">
                  <c:v>23.41</c:v>
                </c:pt>
                <c:pt idx="24">
                  <c:v>23.835000000000001</c:v>
                </c:pt>
                <c:pt idx="25">
                  <c:v>24.172999999999998</c:v>
                </c:pt>
                <c:pt idx="26">
                  <c:v>23.847999999999999</c:v>
                </c:pt>
                <c:pt idx="27">
                  <c:v>23.253</c:v>
                </c:pt>
                <c:pt idx="28">
                  <c:v>20.588999999999999</c:v>
                </c:pt>
                <c:pt idx="29">
                  <c:v>19.834</c:v>
                </c:pt>
                <c:pt idx="30">
                  <c:v>19.439</c:v>
                </c:pt>
                <c:pt idx="31">
                  <c:v>19.257999999999999</c:v>
                </c:pt>
                <c:pt idx="32">
                  <c:v>19.634</c:v>
                </c:pt>
                <c:pt idx="33">
                  <c:v>20.004000000000001</c:v>
                </c:pt>
                <c:pt idx="34">
                  <c:v>22.494</c:v>
                </c:pt>
                <c:pt idx="35">
                  <c:v>23.018999999999998</c:v>
                </c:pt>
                <c:pt idx="36">
                  <c:v>23.579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6E3-49F2-80B1-9E02EB1004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TF forward price, 12 January 2022</c:v>
                </c:pt>
              </c:strCache>
            </c:strRef>
          </c:tx>
          <c:spPr>
            <a:ln w="28575" cap="rnd">
              <a:solidFill>
                <a:srgbClr val="96CD78">
                  <a:lumMod val="60000"/>
                  <a:lumOff val="4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38</c:f>
              <c:numCache>
                <c:formatCode>mmm\-yy</c:formatCode>
                <c:ptCount val="37"/>
                <c:pt idx="0">
                  <c:v>44896</c:v>
                </c:pt>
                <c:pt idx="1">
                  <c:v>44927</c:v>
                </c:pt>
                <c:pt idx="2">
                  <c:v>44958</c:v>
                </c:pt>
                <c:pt idx="3">
                  <c:v>44986</c:v>
                </c:pt>
                <c:pt idx="4">
                  <c:v>45017</c:v>
                </c:pt>
                <c:pt idx="5">
                  <c:v>45047</c:v>
                </c:pt>
                <c:pt idx="6">
                  <c:v>45078</c:v>
                </c:pt>
                <c:pt idx="7">
                  <c:v>45108</c:v>
                </c:pt>
                <c:pt idx="8">
                  <c:v>45139</c:v>
                </c:pt>
                <c:pt idx="9">
                  <c:v>45170</c:v>
                </c:pt>
                <c:pt idx="10">
                  <c:v>45200</c:v>
                </c:pt>
                <c:pt idx="11">
                  <c:v>45231</c:v>
                </c:pt>
                <c:pt idx="12">
                  <c:v>45261</c:v>
                </c:pt>
                <c:pt idx="13">
                  <c:v>45292</c:v>
                </c:pt>
                <c:pt idx="14">
                  <c:v>45323</c:v>
                </c:pt>
                <c:pt idx="15">
                  <c:v>45352</c:v>
                </c:pt>
                <c:pt idx="16">
                  <c:v>45383</c:v>
                </c:pt>
                <c:pt idx="17">
                  <c:v>45413</c:v>
                </c:pt>
                <c:pt idx="18">
                  <c:v>45444</c:v>
                </c:pt>
                <c:pt idx="19">
                  <c:v>45474</c:v>
                </c:pt>
                <c:pt idx="20">
                  <c:v>45505</c:v>
                </c:pt>
                <c:pt idx="21">
                  <c:v>45536</c:v>
                </c:pt>
                <c:pt idx="22">
                  <c:v>45566</c:v>
                </c:pt>
                <c:pt idx="23">
                  <c:v>45597</c:v>
                </c:pt>
                <c:pt idx="24">
                  <c:v>45627</c:v>
                </c:pt>
                <c:pt idx="25">
                  <c:v>45658</c:v>
                </c:pt>
                <c:pt idx="26">
                  <c:v>45689</c:v>
                </c:pt>
                <c:pt idx="27">
                  <c:v>45717</c:v>
                </c:pt>
                <c:pt idx="28">
                  <c:v>45748</c:v>
                </c:pt>
                <c:pt idx="29">
                  <c:v>45778</c:v>
                </c:pt>
                <c:pt idx="30">
                  <c:v>45809</c:v>
                </c:pt>
                <c:pt idx="31">
                  <c:v>45839</c:v>
                </c:pt>
                <c:pt idx="32">
                  <c:v>45870</c:v>
                </c:pt>
                <c:pt idx="33">
                  <c:v>45901</c:v>
                </c:pt>
                <c:pt idx="34">
                  <c:v>45931</c:v>
                </c:pt>
                <c:pt idx="35">
                  <c:v>45962</c:v>
                </c:pt>
                <c:pt idx="36">
                  <c:v>45992</c:v>
                </c:pt>
              </c:numCache>
            </c:numRef>
          </c:cat>
          <c:val>
            <c:numRef>
              <c:f>Sheet1!$C$2:$C$38</c:f>
              <c:numCache>
                <c:formatCode>General</c:formatCode>
                <c:ptCount val="37"/>
                <c:pt idx="0">
                  <c:v>65.42</c:v>
                </c:pt>
                <c:pt idx="1">
                  <c:v>65.222999999999999</c:v>
                </c:pt>
                <c:pt idx="2">
                  <c:v>65.215999999999994</c:v>
                </c:pt>
                <c:pt idx="3">
                  <c:v>60.77</c:v>
                </c:pt>
                <c:pt idx="4">
                  <c:v>40.21</c:v>
                </c:pt>
                <c:pt idx="5">
                  <c:v>35.521999999999998</c:v>
                </c:pt>
                <c:pt idx="6">
                  <c:v>35.423000000000002</c:v>
                </c:pt>
                <c:pt idx="7" formatCode="#,##0">
                  <c:v>35.343000000000004</c:v>
                </c:pt>
                <c:pt idx="8">
                  <c:v>35.552</c:v>
                </c:pt>
                <c:pt idx="9">
                  <c:v>35.901000000000003</c:v>
                </c:pt>
                <c:pt idx="10">
                  <c:v>36.174999999999997</c:v>
                </c:pt>
                <c:pt idx="11">
                  <c:v>37.661000000000001</c:v>
                </c:pt>
                <c:pt idx="12">
                  <c:v>37.463999999999999</c:v>
                </c:pt>
                <c:pt idx="13">
                  <c:v>37.723999999999997</c:v>
                </c:pt>
                <c:pt idx="14">
                  <c:v>38.024000000000001</c:v>
                </c:pt>
                <c:pt idx="15">
                  <c:v>36.491</c:v>
                </c:pt>
                <c:pt idx="16">
                  <c:v>29.905000000000001</c:v>
                </c:pt>
                <c:pt idx="17">
                  <c:v>26.818000000000001</c:v>
                </c:pt>
                <c:pt idx="18">
                  <c:v>25.626999999999999</c:v>
                </c:pt>
                <c:pt idx="19">
                  <c:v>26.327000000000002</c:v>
                </c:pt>
                <c:pt idx="20">
                  <c:v>26.151</c:v>
                </c:pt>
                <c:pt idx="21">
                  <c:v>26.545999999999999</c:v>
                </c:pt>
                <c:pt idx="22">
                  <c:v>27.385999999999999</c:v>
                </c:pt>
                <c:pt idx="23">
                  <c:v>28.245000000000001</c:v>
                </c:pt>
                <c:pt idx="24">
                  <c:v>28.645</c:v>
                </c:pt>
                <c:pt idx="25">
                  <c:v>29.259</c:v>
                </c:pt>
                <c:pt idx="26">
                  <c:v>28.873999999999999</c:v>
                </c:pt>
                <c:pt idx="27">
                  <c:v>27.963000000000001</c:v>
                </c:pt>
                <c:pt idx="28">
                  <c:v>25.047999999999998</c:v>
                </c:pt>
                <c:pt idx="29">
                  <c:v>24.413</c:v>
                </c:pt>
                <c:pt idx="30">
                  <c:v>23.731999999999999</c:v>
                </c:pt>
                <c:pt idx="31">
                  <c:v>23.306999999999999</c:v>
                </c:pt>
                <c:pt idx="32">
                  <c:v>23.210999999999999</c:v>
                </c:pt>
                <c:pt idx="33">
                  <c:v>23.178999999999998</c:v>
                </c:pt>
                <c:pt idx="34">
                  <c:v>24.271000000000001</c:v>
                </c:pt>
                <c:pt idx="35">
                  <c:v>24.831</c:v>
                </c:pt>
                <c:pt idx="36">
                  <c:v>25.751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6E3-49F2-80B1-9E02EB1004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TF forward price, 7 March 2022</c:v>
                </c:pt>
              </c:strCache>
            </c:strRef>
          </c:tx>
          <c:spPr>
            <a:ln w="28575" cap="rnd">
              <a:solidFill>
                <a:srgbClr val="96CD78"/>
              </a:solidFill>
              <a:round/>
            </a:ln>
            <a:effectLst/>
          </c:spPr>
          <c:marker>
            <c:symbol val="none"/>
          </c:marker>
          <c:cat>
            <c:numRef>
              <c:f>Sheet1!$A$2:$A$38</c:f>
              <c:numCache>
                <c:formatCode>mmm\-yy</c:formatCode>
                <c:ptCount val="37"/>
                <c:pt idx="0">
                  <c:v>44896</c:v>
                </c:pt>
                <c:pt idx="1">
                  <c:v>44927</c:v>
                </c:pt>
                <c:pt idx="2">
                  <c:v>44958</c:v>
                </c:pt>
                <c:pt idx="3">
                  <c:v>44986</c:v>
                </c:pt>
                <c:pt idx="4">
                  <c:v>45017</c:v>
                </c:pt>
                <c:pt idx="5">
                  <c:v>45047</c:v>
                </c:pt>
                <c:pt idx="6">
                  <c:v>45078</c:v>
                </c:pt>
                <c:pt idx="7">
                  <c:v>45108</c:v>
                </c:pt>
                <c:pt idx="8">
                  <c:v>45139</c:v>
                </c:pt>
                <c:pt idx="9">
                  <c:v>45170</c:v>
                </c:pt>
                <c:pt idx="10">
                  <c:v>45200</c:v>
                </c:pt>
                <c:pt idx="11">
                  <c:v>45231</c:v>
                </c:pt>
                <c:pt idx="12">
                  <c:v>45261</c:v>
                </c:pt>
                <c:pt idx="13">
                  <c:v>45292</c:v>
                </c:pt>
                <c:pt idx="14">
                  <c:v>45323</c:v>
                </c:pt>
                <c:pt idx="15">
                  <c:v>45352</c:v>
                </c:pt>
                <c:pt idx="16">
                  <c:v>45383</c:v>
                </c:pt>
                <c:pt idx="17">
                  <c:v>45413</c:v>
                </c:pt>
                <c:pt idx="18">
                  <c:v>45444</c:v>
                </c:pt>
                <c:pt idx="19">
                  <c:v>45474</c:v>
                </c:pt>
                <c:pt idx="20">
                  <c:v>45505</c:v>
                </c:pt>
                <c:pt idx="21">
                  <c:v>45536</c:v>
                </c:pt>
                <c:pt idx="22">
                  <c:v>45566</c:v>
                </c:pt>
                <c:pt idx="23">
                  <c:v>45597</c:v>
                </c:pt>
                <c:pt idx="24">
                  <c:v>45627</c:v>
                </c:pt>
                <c:pt idx="25">
                  <c:v>45658</c:v>
                </c:pt>
                <c:pt idx="26">
                  <c:v>45689</c:v>
                </c:pt>
                <c:pt idx="27">
                  <c:v>45717</c:v>
                </c:pt>
                <c:pt idx="28">
                  <c:v>45748</c:v>
                </c:pt>
                <c:pt idx="29">
                  <c:v>45778</c:v>
                </c:pt>
                <c:pt idx="30">
                  <c:v>45809</c:v>
                </c:pt>
                <c:pt idx="31">
                  <c:v>45839</c:v>
                </c:pt>
                <c:pt idx="32">
                  <c:v>45870</c:v>
                </c:pt>
                <c:pt idx="33">
                  <c:v>45901</c:v>
                </c:pt>
                <c:pt idx="34">
                  <c:v>45931</c:v>
                </c:pt>
                <c:pt idx="35">
                  <c:v>45962</c:v>
                </c:pt>
                <c:pt idx="36">
                  <c:v>45992</c:v>
                </c:pt>
              </c:numCache>
            </c:numRef>
          </c:cat>
          <c:val>
            <c:numRef>
              <c:f>Sheet1!$D$2:$D$38</c:f>
              <c:numCache>
                <c:formatCode>General</c:formatCode>
                <c:ptCount val="37"/>
                <c:pt idx="0">
                  <c:v>154.291</c:v>
                </c:pt>
                <c:pt idx="1">
                  <c:v>135.29300000000001</c:v>
                </c:pt>
                <c:pt idx="2">
                  <c:v>119.24</c:v>
                </c:pt>
                <c:pt idx="3">
                  <c:v>104.16</c:v>
                </c:pt>
                <c:pt idx="4">
                  <c:v>84.941999999999993</c:v>
                </c:pt>
                <c:pt idx="5">
                  <c:v>76.691999999999993</c:v>
                </c:pt>
                <c:pt idx="6">
                  <c:v>74.691999999999993</c:v>
                </c:pt>
                <c:pt idx="7">
                  <c:v>73.051000000000002</c:v>
                </c:pt>
                <c:pt idx="8">
                  <c:v>72.082999999999998</c:v>
                </c:pt>
                <c:pt idx="9">
                  <c:v>71.602999999999994</c:v>
                </c:pt>
                <c:pt idx="10">
                  <c:v>69.512</c:v>
                </c:pt>
                <c:pt idx="11">
                  <c:v>69.358999999999995</c:v>
                </c:pt>
                <c:pt idx="12">
                  <c:v>69.284999999999997</c:v>
                </c:pt>
                <c:pt idx="13">
                  <c:v>65.123000000000005</c:v>
                </c:pt>
                <c:pt idx="14">
                  <c:v>64.875</c:v>
                </c:pt>
                <c:pt idx="15">
                  <c:v>62.399000000000001</c:v>
                </c:pt>
                <c:pt idx="16">
                  <c:v>54.536999999999999</c:v>
                </c:pt>
                <c:pt idx="17">
                  <c:v>49.662999999999997</c:v>
                </c:pt>
                <c:pt idx="18">
                  <c:v>48.531999999999996</c:v>
                </c:pt>
                <c:pt idx="19">
                  <c:v>47.713000000000001</c:v>
                </c:pt>
                <c:pt idx="20">
                  <c:v>47.646999999999998</c:v>
                </c:pt>
                <c:pt idx="21">
                  <c:v>47.249000000000002</c:v>
                </c:pt>
                <c:pt idx="22">
                  <c:v>46.273000000000003</c:v>
                </c:pt>
                <c:pt idx="23">
                  <c:v>46.838999999999999</c:v>
                </c:pt>
                <c:pt idx="24">
                  <c:v>46.515999999999998</c:v>
                </c:pt>
                <c:pt idx="25">
                  <c:v>44</c:v>
                </c:pt>
                <c:pt idx="26">
                  <c:v>42.976999999999997</c:v>
                </c:pt>
                <c:pt idx="27">
                  <c:v>40.609000000000002</c:v>
                </c:pt>
                <c:pt idx="28">
                  <c:v>37.609000000000002</c:v>
                </c:pt>
                <c:pt idx="29">
                  <c:v>36.533000000000001</c:v>
                </c:pt>
                <c:pt idx="30">
                  <c:v>35.762999999999998</c:v>
                </c:pt>
                <c:pt idx="31">
                  <c:v>35.183</c:v>
                </c:pt>
                <c:pt idx="32">
                  <c:v>35.344000000000001</c:v>
                </c:pt>
                <c:pt idx="33">
                  <c:v>35.759</c:v>
                </c:pt>
                <c:pt idx="34">
                  <c:v>33.835000000000001</c:v>
                </c:pt>
                <c:pt idx="35">
                  <c:v>34.31</c:v>
                </c:pt>
                <c:pt idx="36">
                  <c:v>34.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6E3-49F2-80B1-9E02EB1004C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TF forward price, 22 June 2022</c:v>
                </c:pt>
              </c:strCache>
            </c:strRef>
          </c:tx>
          <c:spPr>
            <a:ln w="28575" cap="rnd">
              <a:solidFill>
                <a:srgbClr val="96CD78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38</c:f>
              <c:numCache>
                <c:formatCode>mmm\-yy</c:formatCode>
                <c:ptCount val="37"/>
                <c:pt idx="0">
                  <c:v>44896</c:v>
                </c:pt>
                <c:pt idx="1">
                  <c:v>44927</c:v>
                </c:pt>
                <c:pt idx="2">
                  <c:v>44958</c:v>
                </c:pt>
                <c:pt idx="3">
                  <c:v>44986</c:v>
                </c:pt>
                <c:pt idx="4">
                  <c:v>45017</c:v>
                </c:pt>
                <c:pt idx="5">
                  <c:v>45047</c:v>
                </c:pt>
                <c:pt idx="6">
                  <c:v>45078</c:v>
                </c:pt>
                <c:pt idx="7">
                  <c:v>45108</c:v>
                </c:pt>
                <c:pt idx="8">
                  <c:v>45139</c:v>
                </c:pt>
                <c:pt idx="9">
                  <c:v>45170</c:v>
                </c:pt>
                <c:pt idx="10">
                  <c:v>45200</c:v>
                </c:pt>
                <c:pt idx="11">
                  <c:v>45231</c:v>
                </c:pt>
                <c:pt idx="12">
                  <c:v>45261</c:v>
                </c:pt>
                <c:pt idx="13">
                  <c:v>45292</c:v>
                </c:pt>
                <c:pt idx="14">
                  <c:v>45323</c:v>
                </c:pt>
                <c:pt idx="15">
                  <c:v>45352</c:v>
                </c:pt>
                <c:pt idx="16">
                  <c:v>45383</c:v>
                </c:pt>
                <c:pt idx="17">
                  <c:v>45413</c:v>
                </c:pt>
                <c:pt idx="18">
                  <c:v>45444</c:v>
                </c:pt>
                <c:pt idx="19">
                  <c:v>45474</c:v>
                </c:pt>
                <c:pt idx="20">
                  <c:v>45505</c:v>
                </c:pt>
                <c:pt idx="21">
                  <c:v>45536</c:v>
                </c:pt>
                <c:pt idx="22">
                  <c:v>45566</c:v>
                </c:pt>
                <c:pt idx="23">
                  <c:v>45597</c:v>
                </c:pt>
                <c:pt idx="24">
                  <c:v>45627</c:v>
                </c:pt>
                <c:pt idx="25">
                  <c:v>45658</c:v>
                </c:pt>
                <c:pt idx="26">
                  <c:v>45689</c:v>
                </c:pt>
                <c:pt idx="27">
                  <c:v>45717</c:v>
                </c:pt>
                <c:pt idx="28">
                  <c:v>45748</c:v>
                </c:pt>
                <c:pt idx="29">
                  <c:v>45778</c:v>
                </c:pt>
                <c:pt idx="30">
                  <c:v>45809</c:v>
                </c:pt>
                <c:pt idx="31">
                  <c:v>45839</c:v>
                </c:pt>
                <c:pt idx="32">
                  <c:v>45870</c:v>
                </c:pt>
                <c:pt idx="33">
                  <c:v>45901</c:v>
                </c:pt>
                <c:pt idx="34">
                  <c:v>45931</c:v>
                </c:pt>
                <c:pt idx="35">
                  <c:v>45962</c:v>
                </c:pt>
                <c:pt idx="36">
                  <c:v>45992</c:v>
                </c:pt>
              </c:numCache>
            </c:numRef>
          </c:cat>
          <c:val>
            <c:numRef>
              <c:f>Sheet1!$E$2:$E$38</c:f>
              <c:numCache>
                <c:formatCode>General</c:formatCode>
                <c:ptCount val="37"/>
                <c:pt idx="0">
                  <c:v>129.91499999999999</c:v>
                </c:pt>
                <c:pt idx="1">
                  <c:v>127.919</c:v>
                </c:pt>
                <c:pt idx="2">
                  <c:v>124.923</c:v>
                </c:pt>
                <c:pt idx="3">
                  <c:v>118.923</c:v>
                </c:pt>
                <c:pt idx="4">
                  <c:v>96.043000000000006</c:v>
                </c:pt>
                <c:pt idx="5">
                  <c:v>86.793000000000006</c:v>
                </c:pt>
                <c:pt idx="6">
                  <c:v>84.692999999999998</c:v>
                </c:pt>
                <c:pt idx="7">
                  <c:v>84.63</c:v>
                </c:pt>
                <c:pt idx="8">
                  <c:v>84.16</c:v>
                </c:pt>
                <c:pt idx="9">
                  <c:v>84.41</c:v>
                </c:pt>
                <c:pt idx="10">
                  <c:v>84.32</c:v>
                </c:pt>
                <c:pt idx="11">
                  <c:v>85.6</c:v>
                </c:pt>
                <c:pt idx="12">
                  <c:v>85.1</c:v>
                </c:pt>
                <c:pt idx="13">
                  <c:v>82.497</c:v>
                </c:pt>
                <c:pt idx="14">
                  <c:v>80.697000000000003</c:v>
                </c:pt>
                <c:pt idx="15">
                  <c:v>72.296999999999997</c:v>
                </c:pt>
                <c:pt idx="16">
                  <c:v>64.492000000000004</c:v>
                </c:pt>
                <c:pt idx="17">
                  <c:v>62.722000000000001</c:v>
                </c:pt>
                <c:pt idx="18">
                  <c:v>61.767000000000003</c:v>
                </c:pt>
                <c:pt idx="19">
                  <c:v>60.875</c:v>
                </c:pt>
                <c:pt idx="20">
                  <c:v>59.966999999999999</c:v>
                </c:pt>
                <c:pt idx="21">
                  <c:v>60.703000000000003</c:v>
                </c:pt>
                <c:pt idx="22">
                  <c:v>59.576000000000001</c:v>
                </c:pt>
                <c:pt idx="23">
                  <c:v>59.62</c:v>
                </c:pt>
                <c:pt idx="24">
                  <c:v>58.606999999999999</c:v>
                </c:pt>
                <c:pt idx="25">
                  <c:v>56.634</c:v>
                </c:pt>
                <c:pt idx="26">
                  <c:v>55.933999999999997</c:v>
                </c:pt>
                <c:pt idx="27">
                  <c:v>54.884</c:v>
                </c:pt>
                <c:pt idx="28">
                  <c:v>51.347000000000001</c:v>
                </c:pt>
                <c:pt idx="29">
                  <c:v>50.938000000000002</c:v>
                </c:pt>
                <c:pt idx="30">
                  <c:v>43.93</c:v>
                </c:pt>
                <c:pt idx="31">
                  <c:v>43.682000000000002</c:v>
                </c:pt>
                <c:pt idx="32">
                  <c:v>43.539000000000001</c:v>
                </c:pt>
                <c:pt idx="33">
                  <c:v>43.976999999999997</c:v>
                </c:pt>
                <c:pt idx="34">
                  <c:v>44.075000000000003</c:v>
                </c:pt>
                <c:pt idx="35">
                  <c:v>45.225999999999999</c:v>
                </c:pt>
                <c:pt idx="36">
                  <c:v>45.292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6E3-49F2-80B1-9E02EB1004C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TF forward price, 29 August 2022</c:v>
                </c:pt>
              </c:strCache>
            </c:strRef>
          </c:tx>
          <c:spPr>
            <a:ln w="28575" cap="rnd">
              <a:solidFill>
                <a:srgbClr val="96CD78">
                  <a:lumMod val="50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38</c:f>
              <c:numCache>
                <c:formatCode>mmm\-yy</c:formatCode>
                <c:ptCount val="37"/>
                <c:pt idx="0">
                  <c:v>44896</c:v>
                </c:pt>
                <c:pt idx="1">
                  <c:v>44927</c:v>
                </c:pt>
                <c:pt idx="2">
                  <c:v>44958</c:v>
                </c:pt>
                <c:pt idx="3">
                  <c:v>44986</c:v>
                </c:pt>
                <c:pt idx="4">
                  <c:v>45017</c:v>
                </c:pt>
                <c:pt idx="5">
                  <c:v>45047</c:v>
                </c:pt>
                <c:pt idx="6">
                  <c:v>45078</c:v>
                </c:pt>
                <c:pt idx="7">
                  <c:v>45108</c:v>
                </c:pt>
                <c:pt idx="8">
                  <c:v>45139</c:v>
                </c:pt>
                <c:pt idx="9">
                  <c:v>45170</c:v>
                </c:pt>
                <c:pt idx="10">
                  <c:v>45200</c:v>
                </c:pt>
                <c:pt idx="11">
                  <c:v>45231</c:v>
                </c:pt>
                <c:pt idx="12">
                  <c:v>45261</c:v>
                </c:pt>
                <c:pt idx="13">
                  <c:v>45292</c:v>
                </c:pt>
                <c:pt idx="14">
                  <c:v>45323</c:v>
                </c:pt>
                <c:pt idx="15">
                  <c:v>45352</c:v>
                </c:pt>
                <c:pt idx="16">
                  <c:v>45383</c:v>
                </c:pt>
                <c:pt idx="17">
                  <c:v>45413</c:v>
                </c:pt>
                <c:pt idx="18">
                  <c:v>45444</c:v>
                </c:pt>
                <c:pt idx="19">
                  <c:v>45474</c:v>
                </c:pt>
                <c:pt idx="20">
                  <c:v>45505</c:v>
                </c:pt>
                <c:pt idx="21">
                  <c:v>45536</c:v>
                </c:pt>
                <c:pt idx="22">
                  <c:v>45566</c:v>
                </c:pt>
                <c:pt idx="23">
                  <c:v>45597</c:v>
                </c:pt>
                <c:pt idx="24">
                  <c:v>45627</c:v>
                </c:pt>
                <c:pt idx="25">
                  <c:v>45658</c:v>
                </c:pt>
                <c:pt idx="26">
                  <c:v>45689</c:v>
                </c:pt>
                <c:pt idx="27">
                  <c:v>45717</c:v>
                </c:pt>
                <c:pt idx="28">
                  <c:v>45748</c:v>
                </c:pt>
                <c:pt idx="29">
                  <c:v>45778</c:v>
                </c:pt>
                <c:pt idx="30">
                  <c:v>45809</c:v>
                </c:pt>
                <c:pt idx="31">
                  <c:v>45839</c:v>
                </c:pt>
                <c:pt idx="32">
                  <c:v>45870</c:v>
                </c:pt>
                <c:pt idx="33">
                  <c:v>45901</c:v>
                </c:pt>
                <c:pt idx="34">
                  <c:v>45931</c:v>
                </c:pt>
                <c:pt idx="35">
                  <c:v>45962</c:v>
                </c:pt>
                <c:pt idx="36">
                  <c:v>45992</c:v>
                </c:pt>
              </c:numCache>
            </c:numRef>
          </c:cat>
          <c:val>
            <c:numRef>
              <c:f>Sheet1!$F$2:$F$38</c:f>
              <c:numCache>
                <c:formatCode>General</c:formatCode>
                <c:ptCount val="37"/>
                <c:pt idx="0">
                  <c:v>297.81099999999998</c:v>
                </c:pt>
                <c:pt idx="1">
                  <c:v>294.399</c:v>
                </c:pt>
                <c:pt idx="2">
                  <c:v>291.70600000000002</c:v>
                </c:pt>
                <c:pt idx="3">
                  <c:v>287.29700000000003</c:v>
                </c:pt>
                <c:pt idx="4">
                  <c:v>272.66399999999999</c:v>
                </c:pt>
                <c:pt idx="5">
                  <c:v>259.53500000000003</c:v>
                </c:pt>
                <c:pt idx="6">
                  <c:v>257.22699999999998</c:v>
                </c:pt>
                <c:pt idx="7">
                  <c:v>254.39</c:v>
                </c:pt>
                <c:pt idx="8">
                  <c:v>252.22499999999999</c:v>
                </c:pt>
                <c:pt idx="9">
                  <c:v>252.23</c:v>
                </c:pt>
                <c:pt idx="10">
                  <c:v>248.22900000000001</c:v>
                </c:pt>
                <c:pt idx="11">
                  <c:v>247.756</c:v>
                </c:pt>
                <c:pt idx="12">
                  <c:v>249.72900000000001</c:v>
                </c:pt>
                <c:pt idx="13">
                  <c:v>247.751</c:v>
                </c:pt>
                <c:pt idx="14">
                  <c:v>235.76</c:v>
                </c:pt>
                <c:pt idx="15">
                  <c:v>210.761</c:v>
                </c:pt>
                <c:pt idx="16">
                  <c:v>180.75200000000001</c:v>
                </c:pt>
                <c:pt idx="17">
                  <c:v>153.738</c:v>
                </c:pt>
                <c:pt idx="18">
                  <c:v>142.71899999999999</c:v>
                </c:pt>
                <c:pt idx="19">
                  <c:v>139.49299999999999</c:v>
                </c:pt>
                <c:pt idx="20">
                  <c:v>145.44200000000001</c:v>
                </c:pt>
                <c:pt idx="21">
                  <c:v>147.64500000000001</c:v>
                </c:pt>
                <c:pt idx="22">
                  <c:v>148.29499999999999</c:v>
                </c:pt>
                <c:pt idx="23">
                  <c:v>148.584</c:v>
                </c:pt>
                <c:pt idx="24">
                  <c:v>147.31</c:v>
                </c:pt>
                <c:pt idx="25">
                  <c:v>145.25899999999999</c:v>
                </c:pt>
                <c:pt idx="26">
                  <c:v>143.447</c:v>
                </c:pt>
                <c:pt idx="27">
                  <c:v>140.52099999999999</c:v>
                </c:pt>
                <c:pt idx="28">
                  <c:v>93.944000000000003</c:v>
                </c:pt>
                <c:pt idx="29">
                  <c:v>89.921999999999997</c:v>
                </c:pt>
                <c:pt idx="30">
                  <c:v>83.912999999999997</c:v>
                </c:pt>
                <c:pt idx="31">
                  <c:v>80.903000000000006</c:v>
                </c:pt>
                <c:pt idx="32">
                  <c:v>83.106999999999999</c:v>
                </c:pt>
                <c:pt idx="33">
                  <c:v>83.814999999999998</c:v>
                </c:pt>
                <c:pt idx="34">
                  <c:v>85.316999999999993</c:v>
                </c:pt>
                <c:pt idx="35">
                  <c:v>87.350999999999999</c:v>
                </c:pt>
                <c:pt idx="36">
                  <c:v>85.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6E3-49F2-80B1-9E02EB1004C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TTF forward price, 21 November 2022</c:v>
                </c:pt>
              </c:strCache>
            </c:strRef>
          </c:tx>
          <c:spPr>
            <a:ln w="28575" cap="rnd">
              <a:solidFill>
                <a:srgbClr val="FFE150">
                  <a:lumMod val="7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A$2:$A$38</c:f>
              <c:numCache>
                <c:formatCode>mmm\-yy</c:formatCode>
                <c:ptCount val="37"/>
                <c:pt idx="0">
                  <c:v>44896</c:v>
                </c:pt>
                <c:pt idx="1">
                  <c:v>44927</c:v>
                </c:pt>
                <c:pt idx="2">
                  <c:v>44958</c:v>
                </c:pt>
                <c:pt idx="3">
                  <c:v>44986</c:v>
                </c:pt>
                <c:pt idx="4">
                  <c:v>45017</c:v>
                </c:pt>
                <c:pt idx="5">
                  <c:v>45047</c:v>
                </c:pt>
                <c:pt idx="6">
                  <c:v>45078</c:v>
                </c:pt>
                <c:pt idx="7">
                  <c:v>45108</c:v>
                </c:pt>
                <c:pt idx="8">
                  <c:v>45139</c:v>
                </c:pt>
                <c:pt idx="9">
                  <c:v>45170</c:v>
                </c:pt>
                <c:pt idx="10">
                  <c:v>45200</c:v>
                </c:pt>
                <c:pt idx="11">
                  <c:v>45231</c:v>
                </c:pt>
                <c:pt idx="12">
                  <c:v>45261</c:v>
                </c:pt>
                <c:pt idx="13">
                  <c:v>45292</c:v>
                </c:pt>
                <c:pt idx="14">
                  <c:v>45323</c:v>
                </c:pt>
                <c:pt idx="15">
                  <c:v>45352</c:v>
                </c:pt>
                <c:pt idx="16">
                  <c:v>45383</c:v>
                </c:pt>
                <c:pt idx="17">
                  <c:v>45413</c:v>
                </c:pt>
                <c:pt idx="18">
                  <c:v>45444</c:v>
                </c:pt>
                <c:pt idx="19">
                  <c:v>45474</c:v>
                </c:pt>
                <c:pt idx="20">
                  <c:v>45505</c:v>
                </c:pt>
                <c:pt idx="21">
                  <c:v>45536</c:v>
                </c:pt>
                <c:pt idx="22">
                  <c:v>45566</c:v>
                </c:pt>
                <c:pt idx="23">
                  <c:v>45597</c:v>
                </c:pt>
                <c:pt idx="24">
                  <c:v>45627</c:v>
                </c:pt>
                <c:pt idx="25">
                  <c:v>45658</c:v>
                </c:pt>
                <c:pt idx="26">
                  <c:v>45689</c:v>
                </c:pt>
                <c:pt idx="27">
                  <c:v>45717</c:v>
                </c:pt>
                <c:pt idx="28">
                  <c:v>45748</c:v>
                </c:pt>
                <c:pt idx="29">
                  <c:v>45778</c:v>
                </c:pt>
                <c:pt idx="30">
                  <c:v>45809</c:v>
                </c:pt>
                <c:pt idx="31">
                  <c:v>45839</c:v>
                </c:pt>
                <c:pt idx="32">
                  <c:v>45870</c:v>
                </c:pt>
                <c:pt idx="33">
                  <c:v>45901</c:v>
                </c:pt>
                <c:pt idx="34">
                  <c:v>45931</c:v>
                </c:pt>
                <c:pt idx="35">
                  <c:v>45962</c:v>
                </c:pt>
                <c:pt idx="36">
                  <c:v>45992</c:v>
                </c:pt>
              </c:numCache>
            </c:numRef>
          </c:cat>
          <c:val>
            <c:numRef>
              <c:f>Sheet1!$G$2:$G$38</c:f>
              <c:numCache>
                <c:formatCode>General</c:formatCode>
                <c:ptCount val="37"/>
                <c:pt idx="0">
                  <c:v>116.128</c:v>
                </c:pt>
                <c:pt idx="1">
                  <c:v>122.52200000000001</c:v>
                </c:pt>
                <c:pt idx="2">
                  <c:v>124.276</c:v>
                </c:pt>
                <c:pt idx="3">
                  <c:v>124.26600000000001</c:v>
                </c:pt>
                <c:pt idx="4">
                  <c:v>123.49299999999999</c:v>
                </c:pt>
                <c:pt idx="5">
                  <c:v>123.143</c:v>
                </c:pt>
                <c:pt idx="6">
                  <c:v>123.494</c:v>
                </c:pt>
                <c:pt idx="7">
                  <c:v>123.73399999999999</c:v>
                </c:pt>
                <c:pt idx="8">
                  <c:v>123.574</c:v>
                </c:pt>
                <c:pt idx="9">
                  <c:v>123.824</c:v>
                </c:pt>
                <c:pt idx="10">
                  <c:v>123.413</c:v>
                </c:pt>
                <c:pt idx="11">
                  <c:v>125.958</c:v>
                </c:pt>
                <c:pt idx="12">
                  <c:v>126.658</c:v>
                </c:pt>
                <c:pt idx="13">
                  <c:v>124.29300000000001</c:v>
                </c:pt>
                <c:pt idx="14">
                  <c:v>121.79300000000001</c:v>
                </c:pt>
                <c:pt idx="15">
                  <c:v>113.36799999999999</c:v>
                </c:pt>
                <c:pt idx="16">
                  <c:v>98.778999999999996</c:v>
                </c:pt>
                <c:pt idx="17">
                  <c:v>92.578999999999994</c:v>
                </c:pt>
                <c:pt idx="18">
                  <c:v>88.578999999999994</c:v>
                </c:pt>
                <c:pt idx="19">
                  <c:v>87.09</c:v>
                </c:pt>
                <c:pt idx="20">
                  <c:v>88.926000000000002</c:v>
                </c:pt>
                <c:pt idx="21">
                  <c:v>90.463999999999999</c:v>
                </c:pt>
                <c:pt idx="22">
                  <c:v>88.495999999999995</c:v>
                </c:pt>
                <c:pt idx="23">
                  <c:v>90.021000000000001</c:v>
                </c:pt>
                <c:pt idx="24">
                  <c:v>89.450999999999993</c:v>
                </c:pt>
                <c:pt idx="25">
                  <c:v>89.094999999999999</c:v>
                </c:pt>
                <c:pt idx="26">
                  <c:v>88.19</c:v>
                </c:pt>
                <c:pt idx="27">
                  <c:v>86.265000000000001</c:v>
                </c:pt>
                <c:pt idx="28">
                  <c:v>74.552000000000007</c:v>
                </c:pt>
                <c:pt idx="29">
                  <c:v>63.752000000000002</c:v>
                </c:pt>
                <c:pt idx="30">
                  <c:v>55.826999999999998</c:v>
                </c:pt>
                <c:pt idx="31">
                  <c:v>58.664000000000001</c:v>
                </c:pt>
                <c:pt idx="32">
                  <c:v>61.212000000000003</c:v>
                </c:pt>
                <c:pt idx="33">
                  <c:v>59.231000000000002</c:v>
                </c:pt>
                <c:pt idx="34">
                  <c:v>62.563000000000002</c:v>
                </c:pt>
                <c:pt idx="35">
                  <c:v>62.707999999999998</c:v>
                </c:pt>
                <c:pt idx="36">
                  <c:v>61.368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6E3-49F2-80B1-9E02EB1004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11093312"/>
        <c:axId val="1011111616"/>
      </c:lineChart>
      <c:dateAx>
        <c:axId val="101109331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11111616"/>
        <c:crosses val="autoZero"/>
        <c:auto val="1"/>
        <c:lblOffset val="100"/>
        <c:baseTimeUnit val="months"/>
      </c:dateAx>
      <c:valAx>
        <c:axId val="1011111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 sz="1200" b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UR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11093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776110755479023E-2"/>
          <c:y val="2.5237821757387032E-2"/>
          <c:w val="0.93034495851562427"/>
          <c:h val="0.74801748961175485"/>
        </c:manualLayout>
      </c:layout>
      <c:lineChart>
        <c:grouping val="standard"/>
        <c:varyColors val="0"/>
        <c:ser>
          <c:idx val="0"/>
          <c:order val="0"/>
          <c:tx>
            <c:strRef>
              <c:f>'[VaasaETT-Acer_data_graphs_10_22.xlsx]i. Historical_price_gas'!$C$3</c:f>
              <c:strCache>
                <c:ptCount val="1"/>
                <c:pt idx="0">
                  <c:v>Austria (AT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C$4:$C$97</c:f>
            </c:numRef>
          </c:val>
          <c:smooth val="0"/>
          <c:extLst>
            <c:ext xmlns:c16="http://schemas.microsoft.com/office/drawing/2014/chart" uri="{C3380CC4-5D6E-409C-BE32-E72D297353CC}">
              <c16:uniqueId val="{00000000-151C-45D3-8DEC-9FA8EF47DC3F}"/>
            </c:ext>
          </c:extLst>
        </c:ser>
        <c:ser>
          <c:idx val="1"/>
          <c:order val="1"/>
          <c:tx>
            <c:strRef>
              <c:f>'[VaasaETT-Acer_data_graphs_10_22.xlsx]i. Historical_price_gas'!$D$3</c:f>
              <c:strCache>
                <c:ptCount val="1"/>
                <c:pt idx="0">
                  <c:v>Belgium (BE)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D$4:$D$97</c:f>
            </c:numRef>
          </c:val>
          <c:smooth val="0"/>
          <c:extLst>
            <c:ext xmlns:c16="http://schemas.microsoft.com/office/drawing/2014/chart" uri="{C3380CC4-5D6E-409C-BE32-E72D297353CC}">
              <c16:uniqueId val="{00000001-151C-45D3-8DEC-9FA8EF47DC3F}"/>
            </c:ext>
          </c:extLst>
        </c:ser>
        <c:ser>
          <c:idx val="2"/>
          <c:order val="2"/>
          <c:tx>
            <c:strRef>
              <c:f>'[VaasaETT-Acer_data_graphs_10_22.xlsx]i. Historical_price_gas'!$E$3</c:f>
              <c:strCache>
                <c:ptCount val="1"/>
                <c:pt idx="0">
                  <c:v>Bulgaria (BG)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E$4:$E$97</c:f>
            </c:numRef>
          </c:val>
          <c:smooth val="0"/>
          <c:extLst>
            <c:ext xmlns:c16="http://schemas.microsoft.com/office/drawing/2014/chart" uri="{C3380CC4-5D6E-409C-BE32-E72D297353CC}">
              <c16:uniqueId val="{00000002-151C-45D3-8DEC-9FA8EF47DC3F}"/>
            </c:ext>
          </c:extLst>
        </c:ser>
        <c:ser>
          <c:idx val="3"/>
          <c:order val="3"/>
          <c:tx>
            <c:strRef>
              <c:f>'[VaasaETT-Acer_data_graphs_10_22.xlsx]i. Historical_price_gas'!$F$3</c:f>
              <c:strCache>
                <c:ptCount val="1"/>
                <c:pt idx="0">
                  <c:v>Croatia (HR)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F$4:$F$97</c:f>
            </c:numRef>
          </c:val>
          <c:smooth val="0"/>
          <c:extLst>
            <c:ext xmlns:c16="http://schemas.microsoft.com/office/drawing/2014/chart" uri="{C3380CC4-5D6E-409C-BE32-E72D297353CC}">
              <c16:uniqueId val="{00000003-151C-45D3-8DEC-9FA8EF47DC3F}"/>
            </c:ext>
          </c:extLst>
        </c:ser>
        <c:ser>
          <c:idx val="4"/>
          <c:order val="4"/>
          <c:tx>
            <c:strRef>
              <c:f>'[VaasaETT-Acer_data_graphs_10_22.xlsx]i. Historical_price_gas'!$G$3</c:f>
              <c:strCache>
                <c:ptCount val="1"/>
                <c:pt idx="0">
                  <c:v>Czech Republic (CZ)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G$4:$G$97</c:f>
            </c:numRef>
          </c:val>
          <c:smooth val="0"/>
          <c:extLst>
            <c:ext xmlns:c16="http://schemas.microsoft.com/office/drawing/2014/chart" uri="{C3380CC4-5D6E-409C-BE32-E72D297353CC}">
              <c16:uniqueId val="{00000004-151C-45D3-8DEC-9FA8EF47DC3F}"/>
            </c:ext>
          </c:extLst>
        </c:ser>
        <c:ser>
          <c:idx val="5"/>
          <c:order val="5"/>
          <c:tx>
            <c:strRef>
              <c:f>'[VaasaETT-Acer_data_graphs_10_22.xlsx]i. Historical_price_gas'!$H$3</c:f>
              <c:strCache>
                <c:ptCount val="1"/>
                <c:pt idx="0">
                  <c:v>Denmark (DK)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H$4:$H$97</c:f>
            </c:numRef>
          </c:val>
          <c:smooth val="0"/>
          <c:extLst>
            <c:ext xmlns:c16="http://schemas.microsoft.com/office/drawing/2014/chart" uri="{C3380CC4-5D6E-409C-BE32-E72D297353CC}">
              <c16:uniqueId val="{00000005-151C-45D3-8DEC-9FA8EF47DC3F}"/>
            </c:ext>
          </c:extLst>
        </c:ser>
        <c:ser>
          <c:idx val="6"/>
          <c:order val="6"/>
          <c:tx>
            <c:strRef>
              <c:f>'[VaasaETT-Acer_data_graphs_10_22.xlsx]i. Historical_price_gas'!$I$3</c:f>
              <c:strCache>
                <c:ptCount val="1"/>
                <c:pt idx="0">
                  <c:v>Estonia (EE)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I$4:$I$97</c:f>
            </c:numRef>
          </c:val>
          <c:smooth val="0"/>
          <c:extLst>
            <c:ext xmlns:c16="http://schemas.microsoft.com/office/drawing/2014/chart" uri="{C3380CC4-5D6E-409C-BE32-E72D297353CC}">
              <c16:uniqueId val="{00000006-151C-45D3-8DEC-9FA8EF47DC3F}"/>
            </c:ext>
          </c:extLst>
        </c:ser>
        <c:ser>
          <c:idx val="7"/>
          <c:order val="7"/>
          <c:tx>
            <c:strRef>
              <c:f>'[VaasaETT-Acer_data_graphs_10_22.xlsx]i. Historical_price_gas'!$J$3</c:f>
              <c:strCache>
                <c:ptCount val="1"/>
                <c:pt idx="0">
                  <c:v>France (FR)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J$4:$J$97</c:f>
            </c:numRef>
          </c:val>
          <c:smooth val="0"/>
          <c:extLst>
            <c:ext xmlns:c16="http://schemas.microsoft.com/office/drawing/2014/chart" uri="{C3380CC4-5D6E-409C-BE32-E72D297353CC}">
              <c16:uniqueId val="{00000007-151C-45D3-8DEC-9FA8EF47DC3F}"/>
            </c:ext>
          </c:extLst>
        </c:ser>
        <c:ser>
          <c:idx val="8"/>
          <c:order val="8"/>
          <c:tx>
            <c:strRef>
              <c:f>'[VaasaETT-Acer_data_graphs_10_22.xlsx]i. Historical_price_gas'!$K$3</c:f>
              <c:strCache>
                <c:ptCount val="1"/>
                <c:pt idx="0">
                  <c:v>Germany (DE)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K$4:$K$97</c:f>
            </c:numRef>
          </c:val>
          <c:smooth val="0"/>
          <c:extLst>
            <c:ext xmlns:c16="http://schemas.microsoft.com/office/drawing/2014/chart" uri="{C3380CC4-5D6E-409C-BE32-E72D297353CC}">
              <c16:uniqueId val="{00000008-151C-45D3-8DEC-9FA8EF47DC3F}"/>
            </c:ext>
          </c:extLst>
        </c:ser>
        <c:ser>
          <c:idx val="9"/>
          <c:order val="9"/>
          <c:tx>
            <c:strRef>
              <c:f>'[VaasaETT-Acer_data_graphs_10_22.xlsx]i. Historical_price_gas'!$L$3</c:f>
              <c:strCache>
                <c:ptCount val="1"/>
                <c:pt idx="0">
                  <c:v>Great Britain (UK)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L$4:$L$97</c:f>
            </c:numRef>
          </c:val>
          <c:smooth val="0"/>
          <c:extLst>
            <c:ext xmlns:c16="http://schemas.microsoft.com/office/drawing/2014/chart" uri="{C3380CC4-5D6E-409C-BE32-E72D297353CC}">
              <c16:uniqueId val="{00000009-151C-45D3-8DEC-9FA8EF47DC3F}"/>
            </c:ext>
          </c:extLst>
        </c:ser>
        <c:ser>
          <c:idx val="10"/>
          <c:order val="10"/>
          <c:tx>
            <c:strRef>
              <c:f>'[VaasaETT-Acer_data_graphs_10_22.xlsx]i. Historical_price_gas'!$M$3</c:f>
              <c:strCache>
                <c:ptCount val="1"/>
                <c:pt idx="0">
                  <c:v>Greece (GR)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M$4:$M$97</c:f>
            </c:numRef>
          </c:val>
          <c:smooth val="0"/>
          <c:extLst>
            <c:ext xmlns:c16="http://schemas.microsoft.com/office/drawing/2014/chart" uri="{C3380CC4-5D6E-409C-BE32-E72D297353CC}">
              <c16:uniqueId val="{0000000A-151C-45D3-8DEC-9FA8EF47DC3F}"/>
            </c:ext>
          </c:extLst>
        </c:ser>
        <c:ser>
          <c:idx val="11"/>
          <c:order val="11"/>
          <c:tx>
            <c:strRef>
              <c:f>'[VaasaETT-Acer_data_graphs_10_22.xlsx]i. Historical_price_gas'!$N$3</c:f>
              <c:strCache>
                <c:ptCount val="1"/>
                <c:pt idx="0">
                  <c:v>Hungary (HU)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N$4:$N$97</c:f>
            </c:numRef>
          </c:val>
          <c:smooth val="0"/>
          <c:extLst>
            <c:ext xmlns:c16="http://schemas.microsoft.com/office/drawing/2014/chart" uri="{C3380CC4-5D6E-409C-BE32-E72D297353CC}">
              <c16:uniqueId val="{0000000B-151C-45D3-8DEC-9FA8EF47DC3F}"/>
            </c:ext>
          </c:extLst>
        </c:ser>
        <c:ser>
          <c:idx val="12"/>
          <c:order val="12"/>
          <c:tx>
            <c:strRef>
              <c:f>'[VaasaETT-Acer_data_graphs_10_22.xlsx]i. Historical_price_gas'!$O$3</c:f>
              <c:strCache>
                <c:ptCount val="1"/>
                <c:pt idx="0">
                  <c:v>Ireland (IE)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O$4:$O$97</c:f>
            </c:numRef>
          </c:val>
          <c:smooth val="0"/>
          <c:extLst>
            <c:ext xmlns:c16="http://schemas.microsoft.com/office/drawing/2014/chart" uri="{C3380CC4-5D6E-409C-BE32-E72D297353CC}">
              <c16:uniqueId val="{0000000C-151C-45D3-8DEC-9FA8EF47DC3F}"/>
            </c:ext>
          </c:extLst>
        </c:ser>
        <c:ser>
          <c:idx val="13"/>
          <c:order val="13"/>
          <c:tx>
            <c:strRef>
              <c:f>'[VaasaETT-Acer_data_graphs_10_22.xlsx]i. Historical_price_gas'!$P$3</c:f>
              <c:strCache>
                <c:ptCount val="1"/>
                <c:pt idx="0">
                  <c:v>Italy (IT)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P$4:$P$97</c:f>
            </c:numRef>
          </c:val>
          <c:smooth val="0"/>
          <c:extLst>
            <c:ext xmlns:c16="http://schemas.microsoft.com/office/drawing/2014/chart" uri="{C3380CC4-5D6E-409C-BE32-E72D297353CC}">
              <c16:uniqueId val="{0000000D-151C-45D3-8DEC-9FA8EF47DC3F}"/>
            </c:ext>
          </c:extLst>
        </c:ser>
        <c:ser>
          <c:idx val="14"/>
          <c:order val="14"/>
          <c:tx>
            <c:strRef>
              <c:f>'[VaasaETT-Acer_data_graphs_10_22.xlsx]i. Historical_price_gas'!$Q$3</c:f>
              <c:strCache>
                <c:ptCount val="1"/>
                <c:pt idx="0">
                  <c:v>Latvia (LV)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Q$4:$Q$97</c:f>
            </c:numRef>
          </c:val>
          <c:smooth val="0"/>
          <c:extLst>
            <c:ext xmlns:c16="http://schemas.microsoft.com/office/drawing/2014/chart" uri="{C3380CC4-5D6E-409C-BE32-E72D297353CC}">
              <c16:uniqueId val="{0000000E-151C-45D3-8DEC-9FA8EF47DC3F}"/>
            </c:ext>
          </c:extLst>
        </c:ser>
        <c:ser>
          <c:idx val="15"/>
          <c:order val="15"/>
          <c:tx>
            <c:strRef>
              <c:f>'[VaasaETT-Acer_data_graphs_10_22.xlsx]i. Historical_price_gas'!$R$3</c:f>
              <c:strCache>
                <c:ptCount val="1"/>
                <c:pt idx="0">
                  <c:v>Lithuania (LT)</c:v>
                </c:pt>
              </c:strCache>
            </c:strRef>
          </c:tx>
          <c:spPr>
            <a:ln w="28575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R$4:$R$97</c:f>
            </c:numRef>
          </c:val>
          <c:smooth val="0"/>
          <c:extLst>
            <c:ext xmlns:c16="http://schemas.microsoft.com/office/drawing/2014/chart" uri="{C3380CC4-5D6E-409C-BE32-E72D297353CC}">
              <c16:uniqueId val="{0000000F-151C-45D3-8DEC-9FA8EF47DC3F}"/>
            </c:ext>
          </c:extLst>
        </c:ser>
        <c:ser>
          <c:idx val="16"/>
          <c:order val="16"/>
          <c:tx>
            <c:strRef>
              <c:f>'[VaasaETT-Acer_data_graphs_10_22.xlsx]i. Historical_price_gas'!$S$3</c:f>
              <c:strCache>
                <c:ptCount val="1"/>
                <c:pt idx="0">
                  <c:v>Luxembourg (LU)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accent5">
                    <a:lumMod val="80000"/>
                    <a:lumOff val="2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S$4:$S$97</c:f>
            </c:numRef>
          </c:val>
          <c:smooth val="0"/>
          <c:extLst>
            <c:ext xmlns:c16="http://schemas.microsoft.com/office/drawing/2014/chart" uri="{C3380CC4-5D6E-409C-BE32-E72D297353CC}">
              <c16:uniqueId val="{00000010-151C-45D3-8DEC-9FA8EF47DC3F}"/>
            </c:ext>
          </c:extLst>
        </c:ser>
        <c:ser>
          <c:idx val="17"/>
          <c:order val="17"/>
          <c:tx>
            <c:strRef>
              <c:f>'[VaasaETT-Acer_data_graphs_10_22.xlsx]i. Historical_price_gas'!$T$3</c:f>
              <c:strCache>
                <c:ptCount val="1"/>
                <c:pt idx="0">
                  <c:v>Netherlands (NL)</c:v>
                </c:pt>
              </c:strCache>
            </c:strRef>
          </c:tx>
          <c:spPr>
            <a:ln w="285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T$4:$T$97</c:f>
            </c:numRef>
          </c:val>
          <c:smooth val="0"/>
          <c:extLst>
            <c:ext xmlns:c16="http://schemas.microsoft.com/office/drawing/2014/chart" uri="{C3380CC4-5D6E-409C-BE32-E72D297353CC}">
              <c16:uniqueId val="{00000011-151C-45D3-8DEC-9FA8EF47DC3F}"/>
            </c:ext>
          </c:extLst>
        </c:ser>
        <c:ser>
          <c:idx val="18"/>
          <c:order val="18"/>
          <c:tx>
            <c:strRef>
              <c:f>'[VaasaETT-Acer_data_graphs_10_22.xlsx]i. Historical_price_gas'!$U$3</c:f>
              <c:strCache>
                <c:ptCount val="1"/>
                <c:pt idx="0">
                  <c:v>Poland (PL)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U$4:$U$97</c:f>
            </c:numRef>
          </c:val>
          <c:smooth val="0"/>
          <c:extLst>
            <c:ext xmlns:c16="http://schemas.microsoft.com/office/drawing/2014/chart" uri="{C3380CC4-5D6E-409C-BE32-E72D297353CC}">
              <c16:uniqueId val="{00000012-151C-45D3-8DEC-9FA8EF47DC3F}"/>
            </c:ext>
          </c:extLst>
        </c:ser>
        <c:ser>
          <c:idx val="19"/>
          <c:order val="19"/>
          <c:tx>
            <c:strRef>
              <c:f>'[VaasaETT-Acer_data_graphs_10_22.xlsx]i. Historical_price_gas'!$V$3</c:f>
              <c:strCache>
                <c:ptCount val="1"/>
                <c:pt idx="0">
                  <c:v>Portugal (PT)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V$4:$V$97</c:f>
            </c:numRef>
          </c:val>
          <c:smooth val="0"/>
          <c:extLst>
            <c:ext xmlns:c16="http://schemas.microsoft.com/office/drawing/2014/chart" uri="{C3380CC4-5D6E-409C-BE32-E72D297353CC}">
              <c16:uniqueId val="{00000013-151C-45D3-8DEC-9FA8EF47DC3F}"/>
            </c:ext>
          </c:extLst>
        </c:ser>
        <c:ser>
          <c:idx val="20"/>
          <c:order val="20"/>
          <c:tx>
            <c:strRef>
              <c:f>'[VaasaETT-Acer_data_graphs_10_22.xlsx]i. Historical_price_gas'!$W$3</c:f>
              <c:strCache>
                <c:ptCount val="1"/>
                <c:pt idx="0">
                  <c:v>Romania (RO)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W$4:$W$97</c:f>
            </c:numRef>
          </c:val>
          <c:smooth val="0"/>
          <c:extLst>
            <c:ext xmlns:c16="http://schemas.microsoft.com/office/drawing/2014/chart" uri="{C3380CC4-5D6E-409C-BE32-E72D297353CC}">
              <c16:uniqueId val="{00000014-151C-45D3-8DEC-9FA8EF47DC3F}"/>
            </c:ext>
          </c:extLst>
        </c:ser>
        <c:ser>
          <c:idx val="21"/>
          <c:order val="21"/>
          <c:tx>
            <c:strRef>
              <c:f>'[VaasaETT-Acer_data_graphs_10_22.xlsx]i. Historical_price_gas'!$X$3</c:f>
              <c:strCache>
                <c:ptCount val="1"/>
                <c:pt idx="0">
                  <c:v>Serbia (RS)</c:v>
                </c:pt>
              </c:strCache>
            </c:strRef>
          </c:tx>
          <c:spPr>
            <a:ln w="285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X$4:$X$97</c:f>
            </c:numRef>
          </c:val>
          <c:smooth val="0"/>
          <c:extLst>
            <c:ext xmlns:c16="http://schemas.microsoft.com/office/drawing/2014/chart" uri="{C3380CC4-5D6E-409C-BE32-E72D297353CC}">
              <c16:uniqueId val="{00000015-151C-45D3-8DEC-9FA8EF47DC3F}"/>
            </c:ext>
          </c:extLst>
        </c:ser>
        <c:ser>
          <c:idx val="22"/>
          <c:order val="22"/>
          <c:tx>
            <c:strRef>
              <c:f>'[VaasaETT-Acer_data_graphs_10_22.xlsx]i. Historical_price_gas'!$Y$3</c:f>
              <c:strCache>
                <c:ptCount val="1"/>
                <c:pt idx="0">
                  <c:v>Slovakia (SK)</c:v>
                </c:pt>
              </c:strCache>
            </c:strRef>
          </c:tx>
          <c:spPr>
            <a:ln w="28575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9525">
                <a:solidFill>
                  <a:schemeClr val="accent5">
                    <a:lumMod val="8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Y$4:$Y$97</c:f>
            </c:numRef>
          </c:val>
          <c:smooth val="0"/>
          <c:extLst>
            <c:ext xmlns:c16="http://schemas.microsoft.com/office/drawing/2014/chart" uri="{C3380CC4-5D6E-409C-BE32-E72D297353CC}">
              <c16:uniqueId val="{00000016-151C-45D3-8DEC-9FA8EF47DC3F}"/>
            </c:ext>
          </c:extLst>
        </c:ser>
        <c:ser>
          <c:idx val="23"/>
          <c:order val="23"/>
          <c:tx>
            <c:strRef>
              <c:f>'[VaasaETT-Acer_data_graphs_10_22.xlsx]i. Historical_price_gas'!$Z$3</c:f>
              <c:strCache>
                <c:ptCount val="1"/>
                <c:pt idx="0">
                  <c:v>Slovenia (SI)</c:v>
                </c:pt>
              </c:strCache>
            </c:strRef>
          </c:tx>
          <c:spPr>
            <a:ln w="28575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Z$4:$Z$97</c:f>
            </c:numRef>
          </c:val>
          <c:smooth val="0"/>
          <c:extLst>
            <c:ext xmlns:c16="http://schemas.microsoft.com/office/drawing/2014/chart" uri="{C3380CC4-5D6E-409C-BE32-E72D297353CC}">
              <c16:uniqueId val="{00000017-151C-45D3-8DEC-9FA8EF47DC3F}"/>
            </c:ext>
          </c:extLst>
        </c:ser>
        <c:ser>
          <c:idx val="24"/>
          <c:order val="24"/>
          <c:tx>
            <c:strRef>
              <c:f>'[VaasaETT-Acer_data_graphs_10_22.xlsx]i. Historical_price_gas'!$AA$3</c:f>
              <c:strCache>
                <c:ptCount val="1"/>
                <c:pt idx="0">
                  <c:v>Spain (ES)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AA$4:$AA$97</c:f>
            </c:numRef>
          </c:val>
          <c:smooth val="0"/>
          <c:extLst>
            <c:ext xmlns:c16="http://schemas.microsoft.com/office/drawing/2014/chart" uri="{C3380CC4-5D6E-409C-BE32-E72D297353CC}">
              <c16:uniqueId val="{00000018-151C-45D3-8DEC-9FA8EF47DC3F}"/>
            </c:ext>
          </c:extLst>
        </c:ser>
        <c:ser>
          <c:idx val="25"/>
          <c:order val="25"/>
          <c:tx>
            <c:strRef>
              <c:f>'[VaasaETT-Acer_data_graphs_10_22.xlsx]i. Historical_price_gas'!$AB$3</c:f>
              <c:strCache>
                <c:ptCount val="1"/>
                <c:pt idx="0">
                  <c:v>Sweden (SE)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AB$4:$AB$97</c:f>
            </c:numRef>
          </c:val>
          <c:smooth val="0"/>
          <c:extLst>
            <c:ext xmlns:c16="http://schemas.microsoft.com/office/drawing/2014/chart" uri="{C3380CC4-5D6E-409C-BE32-E72D297353CC}">
              <c16:uniqueId val="{00000019-151C-45D3-8DEC-9FA8EF47DC3F}"/>
            </c:ext>
          </c:extLst>
        </c:ser>
        <c:ser>
          <c:idx val="26"/>
          <c:order val="26"/>
          <c:tx>
            <c:strRef>
              <c:f>'[VaasaETT-Acer_data_graphs_10_22.xlsx]i. Historical_price_gas'!$AC$3</c:f>
              <c:strCache>
                <c:ptCount val="1"/>
                <c:pt idx="0">
                  <c:v>Switzerland (CH)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AC$4:$AC$97</c:f>
            </c:numRef>
          </c:val>
          <c:smooth val="0"/>
          <c:extLst>
            <c:ext xmlns:c16="http://schemas.microsoft.com/office/drawing/2014/chart" uri="{C3380CC4-5D6E-409C-BE32-E72D297353CC}">
              <c16:uniqueId val="{0000001A-151C-45D3-8DEC-9FA8EF47DC3F}"/>
            </c:ext>
          </c:extLst>
        </c:ser>
        <c:ser>
          <c:idx val="27"/>
          <c:order val="27"/>
          <c:tx>
            <c:strRef>
              <c:f>'[VaasaETT-Acer_data_graphs_10_22.xlsx]i. Historical_price_gas'!$AD$3</c:f>
              <c:strCache>
                <c:ptCount val="1"/>
                <c:pt idx="0">
                  <c:v>Ukraine (UA)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AD$4:$AD$97</c:f>
            </c:numRef>
          </c:val>
          <c:smooth val="0"/>
          <c:extLst>
            <c:ext xmlns:c16="http://schemas.microsoft.com/office/drawing/2014/chart" uri="{C3380CC4-5D6E-409C-BE32-E72D297353CC}">
              <c16:uniqueId val="{0000001B-151C-45D3-8DEC-9FA8EF47DC3F}"/>
            </c:ext>
          </c:extLst>
        </c:ser>
        <c:ser>
          <c:idx val="28"/>
          <c:order val="28"/>
          <c:tx>
            <c:strRef>
              <c:f>'[VaasaETT-Acer_data_graphs_10_22.xlsx]i. Historical_price_gas'!$AE$3</c:f>
              <c:strCache>
                <c:ptCount val="1"/>
                <c:pt idx="0">
                  <c:v>Average EU-27 Gas</c:v>
                </c:pt>
              </c:strCache>
            </c:strRef>
          </c:tx>
          <c:spPr>
            <a:ln w="15875" cap="rnd">
              <a:solidFill>
                <a:srgbClr val="4B5B70"/>
              </a:solidFill>
              <a:round/>
            </a:ln>
            <a:effectLst/>
          </c:spPr>
          <c:marker>
            <c:symbol val="none"/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AE$4:$AE$97</c:f>
              <c:numCache>
                <c:formatCode>#,##0.00</c:formatCode>
                <c:ptCount val="58"/>
                <c:pt idx="0">
                  <c:v>66.615041934628792</c:v>
                </c:pt>
                <c:pt idx="1">
                  <c:v>66.600667637180806</c:v>
                </c:pt>
                <c:pt idx="2">
                  <c:v>66.075022286796951</c:v>
                </c:pt>
                <c:pt idx="3">
                  <c:v>65.938461743715237</c:v>
                </c:pt>
                <c:pt idx="4">
                  <c:v>65.799088971484508</c:v>
                </c:pt>
                <c:pt idx="5">
                  <c:v>66.542054958993816</c:v>
                </c:pt>
                <c:pt idx="6">
                  <c:v>68.554666040127742</c:v>
                </c:pt>
                <c:pt idx="7">
                  <c:v>69.221654497077751</c:v>
                </c:pt>
                <c:pt idx="8">
                  <c:v>69.208289814689678</c:v>
                </c:pt>
                <c:pt idx="9">
                  <c:v>70.571716104138233</c:v>
                </c:pt>
                <c:pt idx="10">
                  <c:v>70.905605004810525</c:v>
                </c:pt>
                <c:pt idx="11">
                  <c:v>71.048071381452928</c:v>
                </c:pt>
                <c:pt idx="12">
                  <c:v>71.915607845073922</c:v>
                </c:pt>
                <c:pt idx="13">
                  <c:v>71.677150631041783</c:v>
                </c:pt>
                <c:pt idx="14">
                  <c:v>71.2087548655349</c:v>
                </c:pt>
                <c:pt idx="15">
                  <c:v>70.578551884581799</c:v>
                </c:pt>
                <c:pt idx="16">
                  <c:v>70.178935695401663</c:v>
                </c:pt>
                <c:pt idx="17">
                  <c:v>70.250454653359569</c:v>
                </c:pt>
                <c:pt idx="18">
                  <c:v>68.481962917574862</c:v>
                </c:pt>
                <c:pt idx="19">
                  <c:v>68.043687592869645</c:v>
                </c:pt>
                <c:pt idx="20">
                  <c:v>67.966381635877482</c:v>
                </c:pt>
                <c:pt idx="21">
                  <c:v>67.640788742469326</c:v>
                </c:pt>
                <c:pt idx="22">
                  <c:v>67.844867482543464</c:v>
                </c:pt>
                <c:pt idx="23">
                  <c:v>68.288883721129253</c:v>
                </c:pt>
                <c:pt idx="24">
                  <c:v>67.735466834696098</c:v>
                </c:pt>
                <c:pt idx="25">
                  <c:v>66.910944391651711</c:v>
                </c:pt>
                <c:pt idx="26">
                  <c:v>66.491146934664215</c:v>
                </c:pt>
                <c:pt idx="27">
                  <c:v>64.202601156737487</c:v>
                </c:pt>
                <c:pt idx="28">
                  <c:v>63.68350280835611</c:v>
                </c:pt>
                <c:pt idx="29">
                  <c:v>63.722805764601247</c:v>
                </c:pt>
                <c:pt idx="30">
                  <c:v>62.728505838896567</c:v>
                </c:pt>
                <c:pt idx="31">
                  <c:v>62.857153015205434</c:v>
                </c:pt>
                <c:pt idx="32">
                  <c:v>63.117131638999602</c:v>
                </c:pt>
                <c:pt idx="33">
                  <c:v>63.32300803404042</c:v>
                </c:pt>
                <c:pt idx="34">
                  <c:v>64.004309368738063</c:v>
                </c:pt>
                <c:pt idx="35">
                  <c:v>64.426536278641734</c:v>
                </c:pt>
                <c:pt idx="36">
                  <c:v>65.319152458389766</c:v>
                </c:pt>
                <c:pt idx="37">
                  <c:v>66.118409906016325</c:v>
                </c:pt>
                <c:pt idx="38">
                  <c:v>66.607306989013253</c:v>
                </c:pt>
                <c:pt idx="39">
                  <c:v>66.842161388181935</c:v>
                </c:pt>
                <c:pt idx="40">
                  <c:v>67.614333154590739</c:v>
                </c:pt>
                <c:pt idx="41">
                  <c:v>68.996541385508436</c:v>
                </c:pt>
                <c:pt idx="42">
                  <c:v>72.52512506640484</c:v>
                </c:pt>
                <c:pt idx="43">
                  <c:v>74.601711975687095</c:v>
                </c:pt>
                <c:pt idx="44">
                  <c:v>77.556588272730423</c:v>
                </c:pt>
                <c:pt idx="45">
                  <c:v>86.8553009310356</c:v>
                </c:pt>
                <c:pt idx="46">
                  <c:v>95.292830667434799</c:v>
                </c:pt>
                <c:pt idx="47">
                  <c:v>95.032025108254956</c:v>
                </c:pt>
                <c:pt idx="48">
                  <c:v>116.91762569121295</c:v>
                </c:pt>
                <c:pt idx="49">
                  <c:v>110.27340804060798</c:v>
                </c:pt>
                <c:pt idx="50">
                  <c:v>115.9723734228625</c:v>
                </c:pt>
                <c:pt idx="51">
                  <c:v>127.15236212168742</c:v>
                </c:pt>
                <c:pt idx="52">
                  <c:v>126.39883502766843</c:v>
                </c:pt>
                <c:pt idx="53">
                  <c:v>124.53888727201436</c:v>
                </c:pt>
                <c:pt idx="54">
                  <c:v>131.71616939834826</c:v>
                </c:pt>
                <c:pt idx="55">
                  <c:v>154.3251797749823</c:v>
                </c:pt>
                <c:pt idx="56">
                  <c:v>175.7133772568979</c:v>
                </c:pt>
                <c:pt idx="57">
                  <c:v>1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C-151C-45D3-8DEC-9FA8EF47DC3F}"/>
            </c:ext>
          </c:extLst>
        </c:ser>
        <c:ser>
          <c:idx val="29"/>
          <c:order val="29"/>
          <c:tx>
            <c:strRef>
              <c:f>'[VaasaETT-Acer_data_graphs_10_22.xlsx]i. Historical_price_gas'!$AF$3</c:f>
              <c:strCache>
                <c:ptCount val="1"/>
                <c:pt idx="0">
                  <c:v>Average - EU 27 Electricity</c:v>
                </c:pt>
              </c:strCache>
            </c:strRef>
          </c:tx>
          <c:spPr>
            <a:ln w="158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multiLvlStrRef>
              <c:f>'[VaasaETT-Acer_data_graphs_10_22.xlsx]i. Historical_price_gas'!$A$4:$B$97</c:f>
              <c:multiLvlStrCache>
                <c:ptCount val="5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e</c:v>
                  </c:pt>
                  <c:pt idx="6">
                    <c:v>July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e</c:v>
                  </c:pt>
                  <c:pt idx="18">
                    <c:v>July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  <c:pt idx="38">
                    <c:v>Mar</c:v>
                  </c:pt>
                  <c:pt idx="39">
                    <c:v>Apr</c:v>
                  </c:pt>
                  <c:pt idx="40">
                    <c:v>May</c:v>
                  </c:pt>
                  <c:pt idx="41">
                    <c:v>Jun</c:v>
                  </c:pt>
                  <c:pt idx="42">
                    <c:v>Jul</c:v>
                  </c:pt>
                  <c:pt idx="43">
                    <c:v>Aug</c:v>
                  </c:pt>
                  <c:pt idx="44">
                    <c:v>Sep</c:v>
                  </c:pt>
                  <c:pt idx="45">
                    <c:v>Oct</c:v>
                  </c:pt>
                  <c:pt idx="46">
                    <c:v>Nov</c:v>
                  </c:pt>
                  <c:pt idx="47">
                    <c:v>Dec</c:v>
                  </c:pt>
                  <c:pt idx="48">
                    <c:v>Jan</c:v>
                  </c:pt>
                  <c:pt idx="49">
                    <c:v>Feb</c:v>
                  </c:pt>
                  <c:pt idx="50">
                    <c:v>Mar</c:v>
                  </c:pt>
                  <c:pt idx="51">
                    <c:v>Apr</c:v>
                  </c:pt>
                  <c:pt idx="52">
                    <c:v>May</c:v>
                  </c:pt>
                  <c:pt idx="53">
                    <c:v>Jun</c:v>
                  </c:pt>
                  <c:pt idx="54">
                    <c:v>Jul</c:v>
                  </c:pt>
                  <c:pt idx="55">
                    <c:v>Aug</c:v>
                  </c:pt>
                  <c:pt idx="56">
                    <c:v>Sep</c:v>
                  </c:pt>
                  <c:pt idx="57">
                    <c:v>Oct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  <c:pt idx="24">
                    <c:v>2020</c:v>
                  </c:pt>
                  <c:pt idx="36">
                    <c:v>2021</c:v>
                  </c:pt>
                  <c:pt idx="48">
                    <c:v>2022</c:v>
                  </c:pt>
                </c:lvl>
              </c:multiLvlStrCache>
            </c:multiLvlStrRef>
          </c:cat>
          <c:val>
            <c:numRef>
              <c:f>'[VaasaETT-Acer_data_graphs_10_22.xlsx]i. Historical_price_gas'!$AF$4:$AF$97</c:f>
              <c:numCache>
                <c:formatCode>#,##0.00</c:formatCode>
                <c:ptCount val="58"/>
                <c:pt idx="0">
                  <c:v>180.41305989148486</c:v>
                </c:pt>
                <c:pt idx="1">
                  <c:v>180.90672008370478</c:v>
                </c:pt>
                <c:pt idx="2">
                  <c:v>180.38202616855924</c:v>
                </c:pt>
                <c:pt idx="3">
                  <c:v>180.66398843879821</c:v>
                </c:pt>
                <c:pt idx="4">
                  <c:v>180.4956251848208</c:v>
                </c:pt>
                <c:pt idx="5">
                  <c:v>181.47881596214546</c:v>
                </c:pt>
                <c:pt idx="6">
                  <c:v>182.31501746348391</c:v>
                </c:pt>
                <c:pt idx="7">
                  <c:v>183.9822066960858</c:v>
                </c:pt>
                <c:pt idx="8">
                  <c:v>185.59502476783436</c:v>
                </c:pt>
                <c:pt idx="9">
                  <c:v>186.75808800242109</c:v>
                </c:pt>
                <c:pt idx="10">
                  <c:v>187.22592816699904</c:v>
                </c:pt>
                <c:pt idx="11">
                  <c:v>187.8272840381731</c:v>
                </c:pt>
                <c:pt idx="12">
                  <c:v>190.68328767250452</c:v>
                </c:pt>
                <c:pt idx="13">
                  <c:v>189.84978663648857</c:v>
                </c:pt>
                <c:pt idx="14">
                  <c:v>189.28914766057005</c:v>
                </c:pt>
                <c:pt idx="15">
                  <c:v>188.146602765674</c:v>
                </c:pt>
                <c:pt idx="16">
                  <c:v>188.12496254369822</c:v>
                </c:pt>
                <c:pt idx="17">
                  <c:v>189.20733158409752</c:v>
                </c:pt>
                <c:pt idx="18">
                  <c:v>189.1835344806631</c:v>
                </c:pt>
                <c:pt idx="19">
                  <c:v>188.51194013828098</c:v>
                </c:pt>
                <c:pt idx="20">
                  <c:v>188.78359514535947</c:v>
                </c:pt>
                <c:pt idx="21">
                  <c:v>189.98921276710263</c:v>
                </c:pt>
                <c:pt idx="22">
                  <c:v>190.404750145245</c:v>
                </c:pt>
                <c:pt idx="23">
                  <c:v>190.20925579122232</c:v>
                </c:pt>
                <c:pt idx="24">
                  <c:v>186.99131244946699</c:v>
                </c:pt>
                <c:pt idx="25">
                  <c:v>185.95283113805061</c:v>
                </c:pt>
                <c:pt idx="26">
                  <c:v>185.50906916090102</c:v>
                </c:pt>
                <c:pt idx="27">
                  <c:v>181.06187374869279</c:v>
                </c:pt>
                <c:pt idx="28">
                  <c:v>180.15694548415613</c:v>
                </c:pt>
                <c:pt idx="29">
                  <c:v>180.61753670245486</c:v>
                </c:pt>
                <c:pt idx="30">
                  <c:v>179.24654183785233</c:v>
                </c:pt>
                <c:pt idx="31">
                  <c:v>179.63836859248548</c:v>
                </c:pt>
                <c:pt idx="32">
                  <c:v>180.33673624176294</c:v>
                </c:pt>
                <c:pt idx="33">
                  <c:v>181.70697563193048</c:v>
                </c:pt>
                <c:pt idx="34">
                  <c:v>180.93811991845024</c:v>
                </c:pt>
                <c:pt idx="35">
                  <c:v>182.25766299221681</c:v>
                </c:pt>
                <c:pt idx="36">
                  <c:v>186.53422379850963</c:v>
                </c:pt>
                <c:pt idx="37">
                  <c:v>186.67221358851151</c:v>
                </c:pt>
                <c:pt idx="38">
                  <c:v>187.57618333718597</c:v>
                </c:pt>
                <c:pt idx="39">
                  <c:v>188.52484630255802</c:v>
                </c:pt>
                <c:pt idx="40">
                  <c:v>189.47769515322634</c:v>
                </c:pt>
                <c:pt idx="41">
                  <c:v>191.92059561884611</c:v>
                </c:pt>
                <c:pt idx="42">
                  <c:v>195.70590253777439</c:v>
                </c:pt>
                <c:pt idx="43">
                  <c:v>200.09974761594344</c:v>
                </c:pt>
                <c:pt idx="44">
                  <c:v>203.17253451524064</c:v>
                </c:pt>
                <c:pt idx="45">
                  <c:v>213.24231524628249</c:v>
                </c:pt>
                <c:pt idx="46">
                  <c:v>220.65755460174032</c:v>
                </c:pt>
                <c:pt idx="47">
                  <c:v>228.11474073898282</c:v>
                </c:pt>
                <c:pt idx="48">
                  <c:v>250.13033846004546</c:v>
                </c:pt>
                <c:pt idx="49">
                  <c:v>238.77498357008722</c:v>
                </c:pt>
                <c:pt idx="50">
                  <c:v>250.34276370782601</c:v>
                </c:pt>
                <c:pt idx="51">
                  <c:v>271.27214023588567</c:v>
                </c:pt>
                <c:pt idx="52">
                  <c:v>272.84895396719168</c:v>
                </c:pt>
                <c:pt idx="53">
                  <c:v>275.40559234145343</c:v>
                </c:pt>
                <c:pt idx="54">
                  <c:v>282.05326238940256</c:v>
                </c:pt>
                <c:pt idx="55">
                  <c:v>308.92876479438263</c:v>
                </c:pt>
                <c:pt idx="56">
                  <c:v>346.27692456457055</c:v>
                </c:pt>
                <c:pt idx="57" formatCode="General">
                  <c:v>35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151C-45D3-8DEC-9FA8EF47DC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3493504"/>
        <c:axId val="363508896"/>
      </c:lineChart>
      <c:catAx>
        <c:axId val="363493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3508896"/>
        <c:crosses val="autoZero"/>
        <c:auto val="1"/>
        <c:lblAlgn val="ctr"/>
        <c:lblOffset val="100"/>
        <c:noMultiLvlLbl val="0"/>
      </c:catAx>
      <c:valAx>
        <c:axId val="3635088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95000"/>
                </a:schemeClr>
              </a:solidFill>
              <a:prstDash val="sysDot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Euros/MWh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3493504"/>
        <c:crosses val="autoZero"/>
        <c:crossBetween val="between"/>
      </c:valAx>
      <c:spPr>
        <a:noFill/>
        <a:ln w="3175">
          <a:solidFill>
            <a:schemeClr val="tx1">
              <a:lumMod val="15000"/>
              <a:lumOff val="85000"/>
            </a:schemeClr>
          </a:solidFill>
          <a:prstDash val="sysDot"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VaasaETT-Acer_data_graphs_10_22.xlsx]Household expenditure '!$B$1:$B$2</c:f>
              <c:strCache>
                <c:ptCount val="2"/>
                <c:pt idx="0">
                  <c:v>Electricity </c:v>
                </c:pt>
                <c:pt idx="1">
                  <c:v>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VaasaETT-Acer_data_graphs_10_22.xlsx]Household expenditure '!$A$3:$A$31</c:f>
              <c:strCache>
                <c:ptCount val="29"/>
                <c:pt idx="0">
                  <c:v>Bulgaria (Sofia)</c:v>
                </c:pt>
                <c:pt idx="1">
                  <c:v>Greece (Athens)</c:v>
                </c:pt>
                <c:pt idx="2">
                  <c:v>Germany (Berlin)</c:v>
                </c:pt>
                <c:pt idx="3">
                  <c:v>Belgium (Brussels)</c:v>
                </c:pt>
                <c:pt idx="4">
                  <c:v>Denmark (Copenhagen)</c:v>
                </c:pt>
                <c:pt idx="5">
                  <c:v>Italy (Rome)</c:v>
                </c:pt>
                <c:pt idx="6">
                  <c:v>Sweden (Stockholm)</c:v>
                </c:pt>
                <c:pt idx="7">
                  <c:v>Netherlands (Amsterdam)</c:v>
                </c:pt>
                <c:pt idx="8">
                  <c:v>Estonia (Tallinn)</c:v>
                </c:pt>
                <c:pt idx="9">
                  <c:v>Austria (Vienna)</c:v>
                </c:pt>
                <c:pt idx="10">
                  <c:v>Spain (Madrid)</c:v>
                </c:pt>
                <c:pt idx="11">
                  <c:v>Czech Republic (Prague)</c:v>
                </c:pt>
                <c:pt idx="12">
                  <c:v>France (Paris)</c:v>
                </c:pt>
                <c:pt idx="13">
                  <c:v>Luxembourg</c:v>
                </c:pt>
                <c:pt idx="14">
                  <c:v>Romania (Bucharest)</c:v>
                </c:pt>
                <c:pt idx="15">
                  <c:v>Slovenia (Ljubljana)</c:v>
                </c:pt>
                <c:pt idx="16">
                  <c:v>Great Britain (London)</c:v>
                </c:pt>
                <c:pt idx="17">
                  <c:v>Portugal (Lisbon)</c:v>
                </c:pt>
                <c:pt idx="18">
                  <c:v>Switzerland (Bern)</c:v>
                </c:pt>
                <c:pt idx="19">
                  <c:v>Croatia (Zagreb)</c:v>
                </c:pt>
                <c:pt idx="20">
                  <c:v>Slovakia (Bratislava)</c:v>
                </c:pt>
                <c:pt idx="21">
                  <c:v>Ireland (Dublin)</c:v>
                </c:pt>
                <c:pt idx="22">
                  <c:v>Latvia (Riga)</c:v>
                </c:pt>
                <c:pt idx="23">
                  <c:v>Poland (Warsaw)</c:v>
                </c:pt>
                <c:pt idx="24">
                  <c:v>Hungary (Budapest)</c:v>
                </c:pt>
                <c:pt idx="25">
                  <c:v>Lithuania (Vilnius)</c:v>
                </c:pt>
                <c:pt idx="26">
                  <c:v>Norway (Oslo)</c:v>
                </c:pt>
                <c:pt idx="27">
                  <c:v>Cyprus (Nicosia)</c:v>
                </c:pt>
                <c:pt idx="28">
                  <c:v>Finland (Helsinki)</c:v>
                </c:pt>
              </c:strCache>
            </c:strRef>
          </c:cat>
          <c:val>
            <c:numRef>
              <c:f>'[VaasaETT-Acer_data_graphs_10_22.xlsx]Household expenditure '!$B$3:$B$31</c:f>
              <c:numCache>
                <c:formatCode>0.00%</c:formatCode>
                <c:ptCount val="29"/>
                <c:pt idx="0">
                  <c:v>4.9606341402944579E-2</c:v>
                </c:pt>
                <c:pt idx="1">
                  <c:v>4.7264156595837055E-2</c:v>
                </c:pt>
                <c:pt idx="2">
                  <c:v>3.5200843056849847E-2</c:v>
                </c:pt>
                <c:pt idx="3">
                  <c:v>3.0765084585060592E-2</c:v>
                </c:pt>
                <c:pt idx="4">
                  <c:v>4.0866157560947899E-2</c:v>
                </c:pt>
                <c:pt idx="5">
                  <c:v>2.8046723257875234E-2</c:v>
                </c:pt>
                <c:pt idx="6">
                  <c:v>2.987704313395435E-2</c:v>
                </c:pt>
                <c:pt idx="7">
                  <c:v>1.5014320880158317E-2</c:v>
                </c:pt>
                <c:pt idx="8">
                  <c:v>2.3571458131170793E-2</c:v>
                </c:pt>
                <c:pt idx="9">
                  <c:v>2.6723613481810859E-2</c:v>
                </c:pt>
                <c:pt idx="10">
                  <c:v>4.0550973338550081E-2</c:v>
                </c:pt>
                <c:pt idx="11">
                  <c:v>3.0755393736075366E-2</c:v>
                </c:pt>
                <c:pt idx="12">
                  <c:v>1.823883115203382E-2</c:v>
                </c:pt>
                <c:pt idx="13">
                  <c:v>1.8803812560460386E-2</c:v>
                </c:pt>
                <c:pt idx="14">
                  <c:v>2.9361110310895888E-2</c:v>
                </c:pt>
                <c:pt idx="15">
                  <c:v>3.8396475602413133E-2</c:v>
                </c:pt>
                <c:pt idx="16">
                  <c:v>2.8483610176165727E-2</c:v>
                </c:pt>
                <c:pt idx="17">
                  <c:v>6.7642735345824143E-2</c:v>
                </c:pt>
                <c:pt idx="18">
                  <c:v>2.052528031624332E-2</c:v>
                </c:pt>
                <c:pt idx="19">
                  <c:v>4.951898962100687E-2</c:v>
                </c:pt>
                <c:pt idx="20">
                  <c:v>3.1882826107429235E-2</c:v>
                </c:pt>
                <c:pt idx="21">
                  <c:v>4.0729054016150706E-2</c:v>
                </c:pt>
                <c:pt idx="22">
                  <c:v>2.6573073603039479E-2</c:v>
                </c:pt>
                <c:pt idx="23">
                  <c:v>4.2997136615646157E-2</c:v>
                </c:pt>
                <c:pt idx="24">
                  <c:v>2.4705004338832111E-2</c:v>
                </c:pt>
                <c:pt idx="25">
                  <c:v>1.9058284383881449E-2</c:v>
                </c:pt>
                <c:pt idx="26">
                  <c:v>5.9299949196939199E-2</c:v>
                </c:pt>
                <c:pt idx="27">
                  <c:v>4.174849210364185E-2</c:v>
                </c:pt>
                <c:pt idx="28">
                  <c:v>2.586760808162959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22-4B61-BFE3-61970D1C8060}"/>
            </c:ext>
          </c:extLst>
        </c:ser>
        <c:ser>
          <c:idx val="1"/>
          <c:order val="1"/>
          <c:tx>
            <c:strRef>
              <c:f>'[VaasaETT-Acer_data_graphs_10_22.xlsx]Household expenditure '!$C$1:$C$2</c:f>
              <c:strCache>
                <c:ptCount val="2"/>
                <c:pt idx="0">
                  <c:v>Electricity </c:v>
                </c:pt>
                <c:pt idx="1">
                  <c:v>20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VaasaETT-Acer_data_graphs_10_22.xlsx]Household expenditure '!$A$3:$A$31</c:f>
              <c:strCache>
                <c:ptCount val="29"/>
                <c:pt idx="0">
                  <c:v>Bulgaria (Sofia)</c:v>
                </c:pt>
                <c:pt idx="1">
                  <c:v>Greece (Athens)</c:v>
                </c:pt>
                <c:pt idx="2">
                  <c:v>Germany (Berlin)</c:v>
                </c:pt>
                <c:pt idx="3">
                  <c:v>Belgium (Brussels)</c:v>
                </c:pt>
                <c:pt idx="4">
                  <c:v>Denmark (Copenhagen)</c:v>
                </c:pt>
                <c:pt idx="5">
                  <c:v>Italy (Rome)</c:v>
                </c:pt>
                <c:pt idx="6">
                  <c:v>Sweden (Stockholm)</c:v>
                </c:pt>
                <c:pt idx="7">
                  <c:v>Netherlands (Amsterdam)</c:v>
                </c:pt>
                <c:pt idx="8">
                  <c:v>Estonia (Tallinn)</c:v>
                </c:pt>
                <c:pt idx="9">
                  <c:v>Austria (Vienna)</c:v>
                </c:pt>
                <c:pt idx="10">
                  <c:v>Spain (Madrid)</c:v>
                </c:pt>
                <c:pt idx="11">
                  <c:v>Czech Republic (Prague)</c:v>
                </c:pt>
                <c:pt idx="12">
                  <c:v>France (Paris)</c:v>
                </c:pt>
                <c:pt idx="13">
                  <c:v>Luxembourg</c:v>
                </c:pt>
                <c:pt idx="14">
                  <c:v>Romania (Bucharest)</c:v>
                </c:pt>
                <c:pt idx="15">
                  <c:v>Slovenia (Ljubljana)</c:v>
                </c:pt>
                <c:pt idx="16">
                  <c:v>Great Britain (London)</c:v>
                </c:pt>
                <c:pt idx="17">
                  <c:v>Portugal (Lisbon)</c:v>
                </c:pt>
                <c:pt idx="18">
                  <c:v>Switzerland (Bern)</c:v>
                </c:pt>
                <c:pt idx="19">
                  <c:v>Croatia (Zagreb)</c:v>
                </c:pt>
                <c:pt idx="20">
                  <c:v>Slovakia (Bratislava)</c:v>
                </c:pt>
                <c:pt idx="21">
                  <c:v>Ireland (Dublin)</c:v>
                </c:pt>
                <c:pt idx="22">
                  <c:v>Latvia (Riga)</c:v>
                </c:pt>
                <c:pt idx="23">
                  <c:v>Poland (Warsaw)</c:v>
                </c:pt>
                <c:pt idx="24">
                  <c:v>Hungary (Budapest)</c:v>
                </c:pt>
                <c:pt idx="25">
                  <c:v>Lithuania (Vilnius)</c:v>
                </c:pt>
                <c:pt idx="26">
                  <c:v>Norway (Oslo)</c:v>
                </c:pt>
                <c:pt idx="27">
                  <c:v>Cyprus (Nicosia)</c:v>
                </c:pt>
                <c:pt idx="28">
                  <c:v>Finland (Helsinki)</c:v>
                </c:pt>
              </c:strCache>
            </c:strRef>
          </c:cat>
          <c:val>
            <c:numRef>
              <c:f>'[VaasaETT-Acer_data_graphs_10_22.xlsx]Household expenditure '!$C$3:$C$31</c:f>
              <c:numCache>
                <c:formatCode>0.00%</c:formatCode>
                <c:ptCount val="29"/>
                <c:pt idx="0">
                  <c:v>5.4967888589855983E-2</c:v>
                </c:pt>
                <c:pt idx="1">
                  <c:v>6.4473924349482348E-2</c:v>
                </c:pt>
                <c:pt idx="2">
                  <c:v>4.5688000394837558E-2</c:v>
                </c:pt>
                <c:pt idx="3">
                  <c:v>5.0997626296420774E-2</c:v>
                </c:pt>
                <c:pt idx="4">
                  <c:v>6.1346937645465074E-2</c:v>
                </c:pt>
                <c:pt idx="5">
                  <c:v>5.7069143570604726E-2</c:v>
                </c:pt>
                <c:pt idx="6">
                  <c:v>4.6705524850638787E-2</c:v>
                </c:pt>
                <c:pt idx="7">
                  <c:v>3.4492839456333101E-2</c:v>
                </c:pt>
                <c:pt idx="8">
                  <c:v>4.3409154439098895E-2</c:v>
                </c:pt>
                <c:pt idx="9">
                  <c:v>4.4423257631901206E-2</c:v>
                </c:pt>
                <c:pt idx="10">
                  <c:v>5.3730361813817594E-2</c:v>
                </c:pt>
                <c:pt idx="11">
                  <c:v>4.6992469293540513E-2</c:v>
                </c:pt>
                <c:pt idx="12">
                  <c:v>2.0885976486068058E-2</c:v>
                </c:pt>
                <c:pt idx="13">
                  <c:v>1.934198432611323E-2</c:v>
                </c:pt>
                <c:pt idx="14">
                  <c:v>2.8673403082753138E-2</c:v>
                </c:pt>
                <c:pt idx="15">
                  <c:v>3.9975798532409776E-2</c:v>
                </c:pt>
                <c:pt idx="16">
                  <c:v>4.9620200976599055E-2</c:v>
                </c:pt>
                <c:pt idx="17">
                  <c:v>7.7367723328740243E-2</c:v>
                </c:pt>
                <c:pt idx="18">
                  <c:v>2.0720666135531692E-2</c:v>
                </c:pt>
                <c:pt idx="19">
                  <c:v>5.2463598831156574E-2</c:v>
                </c:pt>
                <c:pt idx="20">
                  <c:v>3.563895849485383E-2</c:v>
                </c:pt>
                <c:pt idx="21">
                  <c:v>5.1240339509874569E-2</c:v>
                </c:pt>
                <c:pt idx="22">
                  <c:v>4.1787399715940428E-2</c:v>
                </c:pt>
                <c:pt idx="23">
                  <c:v>4.366496784969378E-2</c:v>
                </c:pt>
                <c:pt idx="24">
                  <c:v>2.4615392116473539E-2</c:v>
                </c:pt>
                <c:pt idx="25">
                  <c:v>2.4890683131622189E-2</c:v>
                </c:pt>
                <c:pt idx="26">
                  <c:v>7.4215764471868548E-2</c:v>
                </c:pt>
                <c:pt idx="27">
                  <c:v>5.7412058256485141E-2</c:v>
                </c:pt>
                <c:pt idx="28">
                  <c:v>4.148451568154914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22-4B61-BFE3-61970D1C8060}"/>
            </c:ext>
          </c:extLst>
        </c:ser>
        <c:ser>
          <c:idx val="2"/>
          <c:order val="2"/>
          <c:tx>
            <c:strRef>
              <c:f>'[VaasaETT-Acer_data_graphs_10_22.xlsx]Household expenditure '!$D$1:$D$2</c:f>
              <c:strCache>
                <c:ptCount val="2"/>
                <c:pt idx="0">
                  <c:v>Gas</c:v>
                </c:pt>
                <c:pt idx="1">
                  <c:v>202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VaasaETT-Acer_data_graphs_10_22.xlsx]Household expenditure '!$A$3:$A$31</c:f>
              <c:strCache>
                <c:ptCount val="29"/>
                <c:pt idx="0">
                  <c:v>Bulgaria (Sofia)</c:v>
                </c:pt>
                <c:pt idx="1">
                  <c:v>Greece (Athens)</c:v>
                </c:pt>
                <c:pt idx="2">
                  <c:v>Germany (Berlin)</c:v>
                </c:pt>
                <c:pt idx="3">
                  <c:v>Belgium (Brussels)</c:v>
                </c:pt>
                <c:pt idx="4">
                  <c:v>Denmark (Copenhagen)</c:v>
                </c:pt>
                <c:pt idx="5">
                  <c:v>Italy (Rome)</c:v>
                </c:pt>
                <c:pt idx="6">
                  <c:v>Sweden (Stockholm)</c:v>
                </c:pt>
                <c:pt idx="7">
                  <c:v>Netherlands (Amsterdam)</c:v>
                </c:pt>
                <c:pt idx="8">
                  <c:v>Estonia (Tallinn)</c:v>
                </c:pt>
                <c:pt idx="9">
                  <c:v>Austria (Vienna)</c:v>
                </c:pt>
                <c:pt idx="10">
                  <c:v>Spain (Madrid)</c:v>
                </c:pt>
                <c:pt idx="11">
                  <c:v>Czech Republic (Prague)</c:v>
                </c:pt>
                <c:pt idx="12">
                  <c:v>France (Paris)</c:v>
                </c:pt>
                <c:pt idx="13">
                  <c:v>Luxembourg</c:v>
                </c:pt>
                <c:pt idx="14">
                  <c:v>Romania (Bucharest)</c:v>
                </c:pt>
                <c:pt idx="15">
                  <c:v>Slovenia (Ljubljana)</c:v>
                </c:pt>
                <c:pt idx="16">
                  <c:v>Great Britain (London)</c:v>
                </c:pt>
                <c:pt idx="17">
                  <c:v>Portugal (Lisbon)</c:v>
                </c:pt>
                <c:pt idx="18">
                  <c:v>Switzerland (Bern)</c:v>
                </c:pt>
                <c:pt idx="19">
                  <c:v>Croatia (Zagreb)</c:v>
                </c:pt>
                <c:pt idx="20">
                  <c:v>Slovakia (Bratislava)</c:v>
                </c:pt>
                <c:pt idx="21">
                  <c:v>Ireland (Dublin)</c:v>
                </c:pt>
                <c:pt idx="22">
                  <c:v>Latvia (Riga)</c:v>
                </c:pt>
                <c:pt idx="23">
                  <c:v>Poland (Warsaw)</c:v>
                </c:pt>
                <c:pt idx="24">
                  <c:v>Hungary (Budapest)</c:v>
                </c:pt>
                <c:pt idx="25">
                  <c:v>Lithuania (Vilnius)</c:v>
                </c:pt>
                <c:pt idx="26">
                  <c:v>Norway (Oslo)</c:v>
                </c:pt>
                <c:pt idx="27">
                  <c:v>Cyprus (Nicosia)</c:v>
                </c:pt>
                <c:pt idx="28">
                  <c:v>Finland (Helsinki)</c:v>
                </c:pt>
              </c:strCache>
            </c:strRef>
          </c:cat>
          <c:val>
            <c:numRef>
              <c:f>'[VaasaETT-Acer_data_graphs_10_22.xlsx]Household expenditure '!$D$3:$D$31</c:f>
              <c:numCache>
                <c:formatCode>0.00%</c:formatCode>
                <c:ptCount val="29"/>
                <c:pt idx="0">
                  <c:v>0.12577833843000558</c:v>
                </c:pt>
                <c:pt idx="1">
                  <c:v>6.0946837131685173E-2</c:v>
                </c:pt>
                <c:pt idx="2">
                  <c:v>5.1135966148678193E-2</c:v>
                </c:pt>
                <c:pt idx="3">
                  <c:v>5.3705459364659675E-2</c:v>
                </c:pt>
                <c:pt idx="4">
                  <c:v>6.0128723483754101E-2</c:v>
                </c:pt>
                <c:pt idx="5">
                  <c:v>6.6276331186808271E-2</c:v>
                </c:pt>
                <c:pt idx="6">
                  <c:v>0.1060061548976734</c:v>
                </c:pt>
                <c:pt idx="7">
                  <c:v>4.2453049240481731E-2</c:v>
                </c:pt>
                <c:pt idx="8">
                  <c:v>3.6661496901875167E-2</c:v>
                </c:pt>
                <c:pt idx="9">
                  <c:v>4.2465276160934588E-2</c:v>
                </c:pt>
                <c:pt idx="10">
                  <c:v>3.8487085171704821E-2</c:v>
                </c:pt>
                <c:pt idx="11">
                  <c:v>3.1557843638100491E-2</c:v>
                </c:pt>
                <c:pt idx="12">
                  <c:v>4.9103272931555184E-2</c:v>
                </c:pt>
                <c:pt idx="13">
                  <c:v>3.8004206974014659E-2</c:v>
                </c:pt>
                <c:pt idx="14">
                  <c:v>4.7201028756321012E-2</c:v>
                </c:pt>
                <c:pt idx="15">
                  <c:v>3.6150656619575498E-2</c:v>
                </c:pt>
                <c:pt idx="16">
                  <c:v>2.4715832273361937E-2</c:v>
                </c:pt>
                <c:pt idx="17">
                  <c:v>3.3861844925976575E-2</c:v>
                </c:pt>
                <c:pt idx="18">
                  <c:v>3.8793962967383355E-2</c:v>
                </c:pt>
                <c:pt idx="19">
                  <c:v>4.4035931036640788E-2</c:v>
                </c:pt>
                <c:pt idx="20">
                  <c:v>3.7167876088068014E-2</c:v>
                </c:pt>
                <c:pt idx="21">
                  <c:v>2.8888086063554981E-2</c:v>
                </c:pt>
                <c:pt idx="22">
                  <c:v>1.8334166756964042E-2</c:v>
                </c:pt>
                <c:pt idx="23">
                  <c:v>2.652966950450444E-2</c:v>
                </c:pt>
                <c:pt idx="24">
                  <c:v>3.4210936011429494E-2</c:v>
                </c:pt>
                <c:pt idx="25">
                  <c:v>1.321454638093024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22-4B61-BFE3-61970D1C8060}"/>
            </c:ext>
          </c:extLst>
        </c:ser>
        <c:ser>
          <c:idx val="3"/>
          <c:order val="3"/>
          <c:tx>
            <c:strRef>
              <c:f>'[VaasaETT-Acer_data_graphs_10_22.xlsx]Household expenditure '!$E$1:$E$2</c:f>
              <c:strCache>
                <c:ptCount val="2"/>
                <c:pt idx="0">
                  <c:v>Gas</c:v>
                </c:pt>
                <c:pt idx="1">
                  <c:v>202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[VaasaETT-Acer_data_graphs_10_22.xlsx]Household expenditure '!$A$3:$A$31</c:f>
              <c:strCache>
                <c:ptCount val="29"/>
                <c:pt idx="0">
                  <c:v>Bulgaria (Sofia)</c:v>
                </c:pt>
                <c:pt idx="1">
                  <c:v>Greece (Athens)</c:v>
                </c:pt>
                <c:pt idx="2">
                  <c:v>Germany (Berlin)</c:v>
                </c:pt>
                <c:pt idx="3">
                  <c:v>Belgium (Brussels)</c:v>
                </c:pt>
                <c:pt idx="4">
                  <c:v>Denmark (Copenhagen)</c:v>
                </c:pt>
                <c:pt idx="5">
                  <c:v>Italy (Rome)</c:v>
                </c:pt>
                <c:pt idx="6">
                  <c:v>Sweden (Stockholm)</c:v>
                </c:pt>
                <c:pt idx="7">
                  <c:v>Netherlands (Amsterdam)</c:v>
                </c:pt>
                <c:pt idx="8">
                  <c:v>Estonia (Tallinn)</c:v>
                </c:pt>
                <c:pt idx="9">
                  <c:v>Austria (Vienna)</c:v>
                </c:pt>
                <c:pt idx="10">
                  <c:v>Spain (Madrid)</c:v>
                </c:pt>
                <c:pt idx="11">
                  <c:v>Czech Republic (Prague)</c:v>
                </c:pt>
                <c:pt idx="12">
                  <c:v>France (Paris)</c:v>
                </c:pt>
                <c:pt idx="13">
                  <c:v>Luxembourg</c:v>
                </c:pt>
                <c:pt idx="14">
                  <c:v>Romania (Bucharest)</c:v>
                </c:pt>
                <c:pt idx="15">
                  <c:v>Slovenia (Ljubljana)</c:v>
                </c:pt>
                <c:pt idx="16">
                  <c:v>Great Britain (London)</c:v>
                </c:pt>
                <c:pt idx="17">
                  <c:v>Portugal (Lisbon)</c:v>
                </c:pt>
                <c:pt idx="18">
                  <c:v>Switzerland (Bern)</c:v>
                </c:pt>
                <c:pt idx="19">
                  <c:v>Croatia (Zagreb)</c:v>
                </c:pt>
                <c:pt idx="20">
                  <c:v>Slovakia (Bratislava)</c:v>
                </c:pt>
                <c:pt idx="21">
                  <c:v>Ireland (Dublin)</c:v>
                </c:pt>
                <c:pt idx="22">
                  <c:v>Latvia (Riga)</c:v>
                </c:pt>
                <c:pt idx="23">
                  <c:v>Poland (Warsaw)</c:v>
                </c:pt>
                <c:pt idx="24">
                  <c:v>Hungary (Budapest)</c:v>
                </c:pt>
                <c:pt idx="25">
                  <c:v>Lithuania (Vilnius)</c:v>
                </c:pt>
                <c:pt idx="26">
                  <c:v>Norway (Oslo)</c:v>
                </c:pt>
                <c:pt idx="27">
                  <c:v>Cyprus (Nicosia)</c:v>
                </c:pt>
                <c:pt idx="28">
                  <c:v>Finland (Helsinki)</c:v>
                </c:pt>
              </c:strCache>
            </c:strRef>
          </c:cat>
          <c:val>
            <c:numRef>
              <c:f>'[VaasaETT-Acer_data_graphs_10_22.xlsx]Household expenditure '!$E$3:$E$31</c:f>
              <c:numCache>
                <c:formatCode>0.00%</c:formatCode>
                <c:ptCount val="29"/>
                <c:pt idx="0">
                  <c:v>0.25374496091995574</c:v>
                </c:pt>
                <c:pt idx="1">
                  <c:v>0.1365004460107917</c:v>
                </c:pt>
                <c:pt idx="2">
                  <c:v>0.13427812339564621</c:v>
                </c:pt>
                <c:pt idx="3">
                  <c:v>0.11761826691329479</c:v>
                </c:pt>
                <c:pt idx="4">
                  <c:v>0.11250421718770021</c:v>
                </c:pt>
                <c:pt idx="5">
                  <c:v>0.11198410698279733</c:v>
                </c:pt>
                <c:pt idx="6">
                  <c:v>0.10888484389805705</c:v>
                </c:pt>
                <c:pt idx="7">
                  <c:v>0.1024744244094702</c:v>
                </c:pt>
                <c:pt idx="8">
                  <c:v>0.10064757333634292</c:v>
                </c:pt>
                <c:pt idx="9">
                  <c:v>9.4315197945336784E-2</c:v>
                </c:pt>
                <c:pt idx="10">
                  <c:v>7.9273154452770209E-2</c:v>
                </c:pt>
                <c:pt idx="11">
                  <c:v>6.7822165527319067E-2</c:v>
                </c:pt>
                <c:pt idx="12">
                  <c:v>6.6398370104542165E-2</c:v>
                </c:pt>
                <c:pt idx="13">
                  <c:v>6.5469600840242892E-2</c:v>
                </c:pt>
                <c:pt idx="14">
                  <c:v>6.4490611423547367E-2</c:v>
                </c:pt>
                <c:pt idx="15">
                  <c:v>5.6267445804477956E-2</c:v>
                </c:pt>
                <c:pt idx="16">
                  <c:v>5.5633952387518212E-2</c:v>
                </c:pt>
                <c:pt idx="17">
                  <c:v>5.4003198394828651E-2</c:v>
                </c:pt>
                <c:pt idx="18">
                  <c:v>5.0945784993948362E-2</c:v>
                </c:pt>
                <c:pt idx="19">
                  <c:v>4.851895282788414E-2</c:v>
                </c:pt>
                <c:pt idx="20">
                  <c:v>4.408028765728822E-2</c:v>
                </c:pt>
                <c:pt idx="21">
                  <c:v>3.8742536634475883E-2</c:v>
                </c:pt>
                <c:pt idx="22">
                  <c:v>3.7340677968951394E-2</c:v>
                </c:pt>
                <c:pt idx="23">
                  <c:v>3.7155305636874317E-2</c:v>
                </c:pt>
                <c:pt idx="24">
                  <c:v>3.4195857043987095E-2</c:v>
                </c:pt>
                <c:pt idx="25">
                  <c:v>2.075208615710566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322-4B61-BFE3-61970D1C80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97333072"/>
        <c:axId val="497316848"/>
      </c:barChart>
      <c:catAx>
        <c:axId val="497333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7316848"/>
        <c:crosses val="autoZero"/>
        <c:auto val="1"/>
        <c:lblAlgn val="ctr"/>
        <c:lblOffset val="100"/>
        <c:noMultiLvlLbl val="0"/>
      </c:catAx>
      <c:valAx>
        <c:axId val="497316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7333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526BB2-BDA0-4A27-A44D-3039C8E3EFD5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952835D0-61BE-4786-A557-F81079EF7ED2}">
      <dgm:prSet/>
      <dgm:spPr/>
      <dgm:t>
        <a:bodyPr/>
        <a:lstStyle/>
        <a:p>
          <a:r>
            <a:rPr lang="en-GB" b="1"/>
            <a:t>More and faster </a:t>
          </a:r>
          <a:r>
            <a:rPr lang="en-GB"/>
            <a:t>solar, wind</a:t>
          </a:r>
        </a:p>
      </dgm:t>
    </dgm:pt>
    <dgm:pt modelId="{4ACCECE6-643E-4C0D-A15C-C9D2218A4A67}" type="parTrans" cxnId="{035489A3-CE5E-4995-976C-4388682ACC8C}">
      <dgm:prSet/>
      <dgm:spPr/>
      <dgm:t>
        <a:bodyPr/>
        <a:lstStyle/>
        <a:p>
          <a:endParaRPr lang="en-GB"/>
        </a:p>
      </dgm:t>
    </dgm:pt>
    <dgm:pt modelId="{7C40FE25-DE22-4F81-BEA0-482A66CB92DE}" type="sibTrans" cxnId="{035489A3-CE5E-4995-976C-4388682ACC8C}">
      <dgm:prSet/>
      <dgm:spPr/>
      <dgm:t>
        <a:bodyPr/>
        <a:lstStyle/>
        <a:p>
          <a:endParaRPr lang="en-GB"/>
        </a:p>
      </dgm:t>
    </dgm:pt>
    <dgm:pt modelId="{FC0CF4D7-F3CE-4424-98FA-3B4F7ABC52EF}">
      <dgm:prSet/>
      <dgm:spPr/>
      <dgm:t>
        <a:bodyPr/>
        <a:lstStyle/>
        <a:p>
          <a:r>
            <a:rPr lang="en-GB" b="0" i="0"/>
            <a:t>Demand side flexibility made a </a:t>
          </a:r>
          <a:r>
            <a:rPr lang="en-GB" b="1" i="0"/>
            <a:t>proper resource</a:t>
          </a:r>
          <a:endParaRPr lang="en-GB" b="1"/>
        </a:p>
      </dgm:t>
    </dgm:pt>
    <dgm:pt modelId="{A0431DD6-5F35-47BE-B396-3B41E251F146}" type="sibTrans" cxnId="{E41D8DCF-8720-41F5-A6F8-C0D7EF664B5D}">
      <dgm:prSet/>
      <dgm:spPr/>
      <dgm:t>
        <a:bodyPr/>
        <a:lstStyle/>
        <a:p>
          <a:endParaRPr lang="en-GB"/>
        </a:p>
      </dgm:t>
    </dgm:pt>
    <dgm:pt modelId="{6B0C1A86-F01D-4060-84B6-E90721C6BCDD}" type="parTrans" cxnId="{E41D8DCF-8720-41F5-A6F8-C0D7EF664B5D}">
      <dgm:prSet/>
      <dgm:spPr/>
      <dgm:t>
        <a:bodyPr/>
        <a:lstStyle/>
        <a:p>
          <a:endParaRPr lang="en-GB"/>
        </a:p>
      </dgm:t>
    </dgm:pt>
    <dgm:pt modelId="{6545FD55-7DEE-4456-9CC2-D04F92F91170}">
      <dgm:prSet/>
      <dgm:spPr/>
      <dgm:t>
        <a:bodyPr/>
        <a:lstStyle/>
        <a:p>
          <a:r>
            <a:rPr lang="en-GB" b="1"/>
            <a:t>Protected</a:t>
          </a:r>
          <a:r>
            <a:rPr lang="en-GB"/>
            <a:t> basic consumer needs</a:t>
          </a:r>
          <a:endParaRPr lang="en-GB" b="1"/>
        </a:p>
      </dgm:t>
    </dgm:pt>
    <dgm:pt modelId="{E9FFC0C9-D01D-426E-8845-9D98BF4F7742}" type="parTrans" cxnId="{EA429A80-6420-4FE8-945B-16A485486D4B}">
      <dgm:prSet/>
      <dgm:spPr/>
      <dgm:t>
        <a:bodyPr/>
        <a:lstStyle/>
        <a:p>
          <a:endParaRPr lang="en-GB"/>
        </a:p>
      </dgm:t>
    </dgm:pt>
    <dgm:pt modelId="{33EDCF0C-83AA-493A-B9B6-F70240A0FF02}" type="sibTrans" cxnId="{EA429A80-6420-4FE8-945B-16A485486D4B}">
      <dgm:prSet/>
      <dgm:spPr/>
      <dgm:t>
        <a:bodyPr/>
        <a:lstStyle/>
        <a:p>
          <a:endParaRPr lang="en-GB"/>
        </a:p>
      </dgm:t>
    </dgm:pt>
    <dgm:pt modelId="{BC5383AE-1631-45E2-89BB-7C13B9EE6D78}" type="pres">
      <dgm:prSet presAssocID="{56526BB2-BDA0-4A27-A44D-3039C8E3EFD5}" presName="linearFlow" presStyleCnt="0">
        <dgm:presLayoutVars>
          <dgm:dir/>
          <dgm:resizeHandles val="exact"/>
        </dgm:presLayoutVars>
      </dgm:prSet>
      <dgm:spPr/>
    </dgm:pt>
    <dgm:pt modelId="{22CA64EB-B1EF-479A-B3C2-2B0BF875BE60}" type="pres">
      <dgm:prSet presAssocID="{FC0CF4D7-F3CE-4424-98FA-3B4F7ABC52EF}" presName="node" presStyleLbl="node1" presStyleIdx="0" presStyleCnt="3">
        <dgm:presLayoutVars>
          <dgm:bulletEnabled val="1"/>
        </dgm:presLayoutVars>
      </dgm:prSet>
      <dgm:spPr/>
    </dgm:pt>
    <dgm:pt modelId="{BBF3560C-5AD4-4B9D-9ADA-E0CB2ACC47E7}" type="pres">
      <dgm:prSet presAssocID="{A0431DD6-5F35-47BE-B396-3B41E251F146}" presName="spacerL" presStyleCnt="0"/>
      <dgm:spPr/>
    </dgm:pt>
    <dgm:pt modelId="{18BFF409-DC98-4DE2-9BE3-8038069DCF5E}" type="pres">
      <dgm:prSet presAssocID="{A0431DD6-5F35-47BE-B396-3B41E251F146}" presName="sibTrans" presStyleLbl="sibTrans2D1" presStyleIdx="0" presStyleCnt="2"/>
      <dgm:spPr/>
    </dgm:pt>
    <dgm:pt modelId="{6289AA1F-2856-4E09-9652-5BE10E0E9CE4}" type="pres">
      <dgm:prSet presAssocID="{A0431DD6-5F35-47BE-B396-3B41E251F146}" presName="spacerR" presStyleCnt="0"/>
      <dgm:spPr/>
    </dgm:pt>
    <dgm:pt modelId="{22EFAE26-FD52-4D97-A883-38444BB930AF}" type="pres">
      <dgm:prSet presAssocID="{6545FD55-7DEE-4456-9CC2-D04F92F91170}" presName="node" presStyleLbl="node1" presStyleIdx="1" presStyleCnt="3">
        <dgm:presLayoutVars>
          <dgm:bulletEnabled val="1"/>
        </dgm:presLayoutVars>
      </dgm:prSet>
      <dgm:spPr/>
    </dgm:pt>
    <dgm:pt modelId="{D80CCDFF-54AB-457C-AF6A-641ABC3D5405}" type="pres">
      <dgm:prSet presAssocID="{33EDCF0C-83AA-493A-B9B6-F70240A0FF02}" presName="spacerL" presStyleCnt="0"/>
      <dgm:spPr/>
    </dgm:pt>
    <dgm:pt modelId="{75EC3CF2-A685-424D-8C1A-16A653C027B1}" type="pres">
      <dgm:prSet presAssocID="{33EDCF0C-83AA-493A-B9B6-F70240A0FF02}" presName="sibTrans" presStyleLbl="sibTrans2D1" presStyleIdx="1" presStyleCnt="2"/>
      <dgm:spPr/>
    </dgm:pt>
    <dgm:pt modelId="{D6F94589-0649-40FA-B2F0-0D6A9C9F7596}" type="pres">
      <dgm:prSet presAssocID="{33EDCF0C-83AA-493A-B9B6-F70240A0FF02}" presName="spacerR" presStyleCnt="0"/>
      <dgm:spPr/>
    </dgm:pt>
    <dgm:pt modelId="{2C529F34-57D5-44A3-9D1D-A35653ABDE78}" type="pres">
      <dgm:prSet presAssocID="{952835D0-61BE-4786-A557-F81079EF7ED2}" presName="node" presStyleLbl="node1" presStyleIdx="2" presStyleCnt="3">
        <dgm:presLayoutVars>
          <dgm:bulletEnabled val="1"/>
        </dgm:presLayoutVars>
      </dgm:prSet>
      <dgm:spPr/>
    </dgm:pt>
  </dgm:ptLst>
  <dgm:cxnLst>
    <dgm:cxn modelId="{4087E100-EAC8-4E4B-8B05-DBE94D35A160}" type="presOf" srcId="{56526BB2-BDA0-4A27-A44D-3039C8E3EFD5}" destId="{BC5383AE-1631-45E2-89BB-7C13B9EE6D78}" srcOrd="0" destOrd="0" presId="urn:microsoft.com/office/officeart/2005/8/layout/equation1"/>
    <dgm:cxn modelId="{1477DA05-B695-43A4-87AC-6F0D93CE8425}" type="presOf" srcId="{6545FD55-7DEE-4456-9CC2-D04F92F91170}" destId="{22EFAE26-FD52-4D97-A883-38444BB930AF}" srcOrd="0" destOrd="0" presId="urn:microsoft.com/office/officeart/2005/8/layout/equation1"/>
    <dgm:cxn modelId="{C3409514-D1C5-4455-A05F-694D2E3035D3}" type="presOf" srcId="{A0431DD6-5F35-47BE-B396-3B41E251F146}" destId="{18BFF409-DC98-4DE2-9BE3-8038069DCF5E}" srcOrd="0" destOrd="0" presId="urn:microsoft.com/office/officeart/2005/8/layout/equation1"/>
    <dgm:cxn modelId="{1F4E9622-79CB-4DC2-AC37-0341479B75F1}" type="presOf" srcId="{952835D0-61BE-4786-A557-F81079EF7ED2}" destId="{2C529F34-57D5-44A3-9D1D-A35653ABDE78}" srcOrd="0" destOrd="0" presId="urn:microsoft.com/office/officeart/2005/8/layout/equation1"/>
    <dgm:cxn modelId="{EA429A80-6420-4FE8-945B-16A485486D4B}" srcId="{56526BB2-BDA0-4A27-A44D-3039C8E3EFD5}" destId="{6545FD55-7DEE-4456-9CC2-D04F92F91170}" srcOrd="1" destOrd="0" parTransId="{E9FFC0C9-D01D-426E-8845-9D98BF4F7742}" sibTransId="{33EDCF0C-83AA-493A-B9B6-F70240A0FF02}"/>
    <dgm:cxn modelId="{AFF5538A-4FAD-44B0-B139-6DE767958465}" type="presOf" srcId="{33EDCF0C-83AA-493A-B9B6-F70240A0FF02}" destId="{75EC3CF2-A685-424D-8C1A-16A653C027B1}" srcOrd="0" destOrd="0" presId="urn:microsoft.com/office/officeart/2005/8/layout/equation1"/>
    <dgm:cxn modelId="{035489A3-CE5E-4995-976C-4388682ACC8C}" srcId="{56526BB2-BDA0-4A27-A44D-3039C8E3EFD5}" destId="{952835D0-61BE-4786-A557-F81079EF7ED2}" srcOrd="2" destOrd="0" parTransId="{4ACCECE6-643E-4C0D-A15C-C9D2218A4A67}" sibTransId="{7C40FE25-DE22-4F81-BEA0-482A66CB92DE}"/>
    <dgm:cxn modelId="{E41D8DCF-8720-41F5-A6F8-C0D7EF664B5D}" srcId="{56526BB2-BDA0-4A27-A44D-3039C8E3EFD5}" destId="{FC0CF4D7-F3CE-4424-98FA-3B4F7ABC52EF}" srcOrd="0" destOrd="0" parTransId="{6B0C1A86-F01D-4060-84B6-E90721C6BCDD}" sibTransId="{A0431DD6-5F35-47BE-B396-3B41E251F146}"/>
    <dgm:cxn modelId="{2D5B65F6-1BCB-4803-811D-27C1295B80FC}" type="presOf" srcId="{FC0CF4D7-F3CE-4424-98FA-3B4F7ABC52EF}" destId="{22CA64EB-B1EF-479A-B3C2-2B0BF875BE60}" srcOrd="0" destOrd="0" presId="urn:microsoft.com/office/officeart/2005/8/layout/equation1"/>
    <dgm:cxn modelId="{018CFD76-18FE-4DDB-96B0-C0F7B222B5D1}" type="presParOf" srcId="{BC5383AE-1631-45E2-89BB-7C13B9EE6D78}" destId="{22CA64EB-B1EF-479A-B3C2-2B0BF875BE60}" srcOrd="0" destOrd="0" presId="urn:microsoft.com/office/officeart/2005/8/layout/equation1"/>
    <dgm:cxn modelId="{CE50445A-E3F9-4516-BD84-EA2696EA82AE}" type="presParOf" srcId="{BC5383AE-1631-45E2-89BB-7C13B9EE6D78}" destId="{BBF3560C-5AD4-4B9D-9ADA-E0CB2ACC47E7}" srcOrd="1" destOrd="0" presId="urn:microsoft.com/office/officeart/2005/8/layout/equation1"/>
    <dgm:cxn modelId="{888E81D4-CA92-4B59-A963-07B46AC76053}" type="presParOf" srcId="{BC5383AE-1631-45E2-89BB-7C13B9EE6D78}" destId="{18BFF409-DC98-4DE2-9BE3-8038069DCF5E}" srcOrd="2" destOrd="0" presId="urn:microsoft.com/office/officeart/2005/8/layout/equation1"/>
    <dgm:cxn modelId="{7818DC4E-04F9-4547-B7E6-86EC1AE75FF0}" type="presParOf" srcId="{BC5383AE-1631-45E2-89BB-7C13B9EE6D78}" destId="{6289AA1F-2856-4E09-9652-5BE10E0E9CE4}" srcOrd="3" destOrd="0" presId="urn:microsoft.com/office/officeart/2005/8/layout/equation1"/>
    <dgm:cxn modelId="{08ACDC30-46F4-4726-86BF-2BBADE8A3099}" type="presParOf" srcId="{BC5383AE-1631-45E2-89BB-7C13B9EE6D78}" destId="{22EFAE26-FD52-4D97-A883-38444BB930AF}" srcOrd="4" destOrd="0" presId="urn:microsoft.com/office/officeart/2005/8/layout/equation1"/>
    <dgm:cxn modelId="{261D2FC7-BCB5-477D-99A3-7244C5FDAF2F}" type="presParOf" srcId="{BC5383AE-1631-45E2-89BB-7C13B9EE6D78}" destId="{D80CCDFF-54AB-457C-AF6A-641ABC3D5405}" srcOrd="5" destOrd="0" presId="urn:microsoft.com/office/officeart/2005/8/layout/equation1"/>
    <dgm:cxn modelId="{5429D8BA-7741-4AE6-B64B-E22938796647}" type="presParOf" srcId="{BC5383AE-1631-45E2-89BB-7C13B9EE6D78}" destId="{75EC3CF2-A685-424D-8C1A-16A653C027B1}" srcOrd="6" destOrd="0" presId="urn:microsoft.com/office/officeart/2005/8/layout/equation1"/>
    <dgm:cxn modelId="{E7590B00-EB58-4E72-8ECC-F8FDB43991AD}" type="presParOf" srcId="{BC5383AE-1631-45E2-89BB-7C13B9EE6D78}" destId="{D6F94589-0649-40FA-B2F0-0D6A9C9F7596}" srcOrd="7" destOrd="0" presId="urn:microsoft.com/office/officeart/2005/8/layout/equation1"/>
    <dgm:cxn modelId="{D2DB2456-E4EF-41A7-A1D9-3E5D0DBB1816}" type="presParOf" srcId="{BC5383AE-1631-45E2-89BB-7C13B9EE6D78}" destId="{2C529F34-57D5-44A3-9D1D-A35653ABDE78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CA64EB-B1EF-479A-B3C2-2B0BF875BE60}">
      <dsp:nvSpPr>
        <dsp:cNvPr id="0" name=""/>
        <dsp:cNvSpPr/>
      </dsp:nvSpPr>
      <dsp:spPr>
        <a:xfrm>
          <a:off x="2147" y="1834264"/>
          <a:ext cx="2847011" cy="284701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b="0" i="0" kern="1200"/>
            <a:t>Demand side flexibility made a </a:t>
          </a:r>
          <a:r>
            <a:rPr lang="en-GB" sz="2700" b="1" i="0" kern="1200"/>
            <a:t>proper resource</a:t>
          </a:r>
          <a:endParaRPr lang="en-GB" sz="2700" b="1" kern="1200"/>
        </a:p>
      </dsp:txBody>
      <dsp:txXfrm>
        <a:off x="419082" y="2251199"/>
        <a:ext cx="2013141" cy="2013141"/>
      </dsp:txXfrm>
    </dsp:sp>
    <dsp:sp modelId="{18BFF409-DC98-4DE2-9BE3-8038069DCF5E}">
      <dsp:nvSpPr>
        <dsp:cNvPr id="0" name=""/>
        <dsp:cNvSpPr/>
      </dsp:nvSpPr>
      <dsp:spPr>
        <a:xfrm>
          <a:off x="3080336" y="2432136"/>
          <a:ext cx="1651266" cy="1651266"/>
        </a:xfrm>
        <a:prstGeom prst="mathPlus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100" kern="1200"/>
        </a:p>
      </dsp:txBody>
      <dsp:txXfrm>
        <a:off x="3299211" y="3063580"/>
        <a:ext cx="1213516" cy="388378"/>
      </dsp:txXfrm>
    </dsp:sp>
    <dsp:sp modelId="{22EFAE26-FD52-4D97-A883-38444BB930AF}">
      <dsp:nvSpPr>
        <dsp:cNvPr id="0" name=""/>
        <dsp:cNvSpPr/>
      </dsp:nvSpPr>
      <dsp:spPr>
        <a:xfrm>
          <a:off x="4962780" y="1834264"/>
          <a:ext cx="2847011" cy="2847011"/>
        </a:xfrm>
        <a:prstGeom prst="ellipse">
          <a:avLst/>
        </a:prstGeom>
        <a:solidFill>
          <a:schemeClr val="accent3">
            <a:hueOff val="3022771"/>
            <a:satOff val="14309"/>
            <a:lumOff val="-80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b="1" kern="1200"/>
            <a:t>Protected</a:t>
          </a:r>
          <a:r>
            <a:rPr lang="en-GB" sz="2700" kern="1200"/>
            <a:t> basic consumer needs</a:t>
          </a:r>
          <a:endParaRPr lang="en-GB" sz="2700" b="1" kern="1200"/>
        </a:p>
      </dsp:txBody>
      <dsp:txXfrm>
        <a:off x="5379715" y="2251199"/>
        <a:ext cx="2013141" cy="2013141"/>
      </dsp:txXfrm>
    </dsp:sp>
    <dsp:sp modelId="{75EC3CF2-A685-424D-8C1A-16A653C027B1}">
      <dsp:nvSpPr>
        <dsp:cNvPr id="0" name=""/>
        <dsp:cNvSpPr/>
      </dsp:nvSpPr>
      <dsp:spPr>
        <a:xfrm>
          <a:off x="8040968" y="2432136"/>
          <a:ext cx="1651266" cy="1651266"/>
        </a:xfrm>
        <a:prstGeom prst="mathEqual">
          <a:avLst/>
        </a:prstGeom>
        <a:solidFill>
          <a:schemeClr val="accent3">
            <a:hueOff val="6045542"/>
            <a:satOff val="28619"/>
            <a:lumOff val="-1607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100" kern="1200"/>
        </a:p>
      </dsp:txBody>
      <dsp:txXfrm>
        <a:off x="8259843" y="2772297"/>
        <a:ext cx="1213516" cy="970944"/>
      </dsp:txXfrm>
    </dsp:sp>
    <dsp:sp modelId="{2C529F34-57D5-44A3-9D1D-A35653ABDE78}">
      <dsp:nvSpPr>
        <dsp:cNvPr id="0" name=""/>
        <dsp:cNvSpPr/>
      </dsp:nvSpPr>
      <dsp:spPr>
        <a:xfrm>
          <a:off x="9923412" y="1834264"/>
          <a:ext cx="2847011" cy="2847011"/>
        </a:xfrm>
        <a:prstGeom prst="ellipse">
          <a:avLst/>
        </a:prstGeom>
        <a:solidFill>
          <a:schemeClr val="accent3">
            <a:hueOff val="6045542"/>
            <a:satOff val="28619"/>
            <a:lumOff val="-160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b="1" kern="1200"/>
            <a:t>More and faster </a:t>
          </a:r>
          <a:r>
            <a:rPr lang="en-GB" sz="2700" kern="1200"/>
            <a:t>solar, wind</a:t>
          </a:r>
        </a:p>
      </dsp:txBody>
      <dsp:txXfrm>
        <a:off x="10340347" y="2251199"/>
        <a:ext cx="2013141" cy="20131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3604</cdr:x>
      <cdr:y>0.11581</cdr:y>
    </cdr:from>
    <cdr:to>
      <cdr:x>0.83718</cdr:x>
      <cdr:y>0.77786</cdr:y>
    </cdr:to>
    <cdr:sp macro="" textlink="">
      <cdr:nvSpPr>
        <cdr:cNvPr id="38" name="Rectangle 37"/>
        <cdr:cNvSpPr/>
      </cdr:nvSpPr>
      <cdr:spPr>
        <a:xfrm xmlns:a="http://schemas.openxmlformats.org/drawingml/2006/main">
          <a:off x="7973035" y="499185"/>
          <a:ext cx="1095555" cy="2853706"/>
        </a:xfrm>
        <a:prstGeom xmlns:a="http://schemas.openxmlformats.org/drawingml/2006/main" prst="rect">
          <a:avLst/>
        </a:prstGeom>
        <a:solidFill xmlns:a="http://schemas.openxmlformats.org/drawingml/2006/main">
          <a:schemeClr val="bg2">
            <a:lumMod val="75000"/>
            <a:alpha val="2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2933</cdr:x>
      <cdr:y>0.11581</cdr:y>
    </cdr:from>
    <cdr:to>
      <cdr:x>0.66835</cdr:x>
      <cdr:y>0.77786</cdr:y>
    </cdr:to>
    <cdr:sp macro="" textlink="">
      <cdr:nvSpPr>
        <cdr:cNvPr id="37" name="Rectangle 36"/>
        <cdr:cNvSpPr/>
      </cdr:nvSpPr>
      <cdr:spPr>
        <a:xfrm xmlns:a="http://schemas.openxmlformats.org/drawingml/2006/main">
          <a:off x="6817096" y="499185"/>
          <a:ext cx="422694" cy="2853706"/>
        </a:xfrm>
        <a:prstGeom xmlns:a="http://schemas.openxmlformats.org/drawingml/2006/main" prst="rect">
          <a:avLst/>
        </a:prstGeom>
        <a:solidFill xmlns:a="http://schemas.openxmlformats.org/drawingml/2006/main">
          <a:schemeClr val="bg2">
            <a:lumMod val="75000"/>
            <a:alpha val="2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24084</cdr:x>
      <cdr:y>0.11581</cdr:y>
    </cdr:from>
    <cdr:to>
      <cdr:x>0.43311</cdr:x>
      <cdr:y>0.77786</cdr:y>
    </cdr:to>
    <cdr:sp macro="" textlink="">
      <cdr:nvSpPr>
        <cdr:cNvPr id="64" name="Rectangle 63"/>
        <cdr:cNvSpPr/>
      </cdr:nvSpPr>
      <cdr:spPr>
        <a:xfrm xmlns:a="http://schemas.openxmlformats.org/drawingml/2006/main">
          <a:off x="2608815" y="499185"/>
          <a:ext cx="2082732" cy="2853706"/>
        </a:xfrm>
        <a:prstGeom xmlns:a="http://schemas.openxmlformats.org/drawingml/2006/main" prst="rect">
          <a:avLst/>
        </a:prstGeom>
        <a:solidFill xmlns:a="http://schemas.openxmlformats.org/drawingml/2006/main">
          <a:schemeClr val="bg2">
            <a:lumMod val="75000"/>
            <a:alpha val="2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0589</cdr:x>
      <cdr:y>0.75048</cdr:y>
    </cdr:from>
    <cdr:to>
      <cdr:x>0.61453</cdr:x>
      <cdr:y>0.76909</cdr:y>
    </cdr:to>
    <cdr:sp macro="" textlink="">
      <cdr:nvSpPr>
        <cdr:cNvPr id="59" name="Down Arrow 58"/>
        <cdr:cNvSpPr/>
      </cdr:nvSpPr>
      <cdr:spPr>
        <a:xfrm xmlns:a="http://schemas.openxmlformats.org/drawingml/2006/main">
          <a:off x="6563201" y="3234876"/>
          <a:ext cx="93591" cy="80216"/>
        </a:xfrm>
        <a:prstGeom xmlns:a="http://schemas.openxmlformats.org/drawingml/2006/main" prst="downArrow">
          <a:avLst/>
        </a:prstGeom>
        <a:solidFill xmlns:a="http://schemas.openxmlformats.org/drawingml/2006/main">
          <a:schemeClr val="tx1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61057</cdr:x>
      <cdr:y>0.76942</cdr:y>
    </cdr:from>
    <cdr:to>
      <cdr:x>0.61057</cdr:x>
      <cdr:y>0.83443</cdr:y>
    </cdr:to>
    <cdr:cxnSp macro="">
      <cdr:nvCxnSpPr>
        <cdr:cNvPr id="61" name="Straight Connector 60">
          <a:extLst xmlns:a="http://schemas.openxmlformats.org/drawingml/2006/main">
            <a:ext uri="{FF2B5EF4-FFF2-40B4-BE49-F238E27FC236}">
              <a16:creationId xmlns:a16="http://schemas.microsoft.com/office/drawing/2014/main" id="{29B9E67D-FAC2-D953-B212-457AFD991514}"/>
            </a:ext>
          </a:extLst>
        </cdr:cNvPr>
        <cdr:cNvCxnSpPr/>
      </cdr:nvCxnSpPr>
      <cdr:spPr>
        <a:xfrm xmlns:a="http://schemas.openxmlformats.org/drawingml/2006/main" flipH="1">
          <a:off x="6613896" y="3316515"/>
          <a:ext cx="0" cy="28022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2688</cdr:x>
      <cdr:y>0.8341</cdr:y>
    </cdr:from>
    <cdr:to>
      <cdr:x>0.6926</cdr:x>
      <cdr:y>0.88166</cdr:y>
    </cdr:to>
    <cdr:sp macro="" textlink="">
      <cdr:nvSpPr>
        <cdr:cNvPr id="63" name="Rectangle 62"/>
        <cdr:cNvSpPr/>
      </cdr:nvSpPr>
      <cdr:spPr>
        <a:xfrm xmlns:a="http://schemas.openxmlformats.org/drawingml/2006/main">
          <a:off x="5707339" y="3595312"/>
          <a:ext cx="1795133" cy="20500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3"/>
        </a:solidFill>
        <a:ln xmlns:a="http://schemas.openxmlformats.org/drawingml/2006/main" w="6350">
          <a:solidFill>
            <a:schemeClr val="bg2">
              <a:lumMod val="2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t"/>
        <a:lstStyle xmlns:a="http://schemas.openxmlformats.org/drawingml/2006/main"/>
        <a:p xmlns:a="http://schemas.openxmlformats.org/drawingml/2006/main">
          <a:pPr algn="ctr"/>
          <a:r>
            <a:rPr lang="en-US" sz="900" dirty="0">
              <a:solidFill>
                <a:sysClr val="windowText" lastClr="000000"/>
              </a:solidFill>
            </a:rPr>
            <a:t>Russia’s invasion of Ukraine</a:t>
          </a:r>
        </a:p>
      </cdr:txBody>
    </cdr:sp>
  </cdr:relSizeAnchor>
  <cdr:relSizeAnchor xmlns:cdr="http://schemas.openxmlformats.org/drawingml/2006/chartDrawing">
    <cdr:from>
      <cdr:x>0.85533</cdr:x>
      <cdr:y>0.17796</cdr:y>
    </cdr:from>
    <cdr:to>
      <cdr:x>1</cdr:x>
      <cdr:y>0.30706</cdr:y>
    </cdr:to>
    <cdr:sp macro="" textlink="">
      <cdr:nvSpPr>
        <cdr:cNvPr id="75" name="Rectangle 74"/>
        <cdr:cNvSpPr/>
      </cdr:nvSpPr>
      <cdr:spPr>
        <a:xfrm xmlns:a="http://schemas.openxmlformats.org/drawingml/2006/main">
          <a:off x="9265217" y="767072"/>
          <a:ext cx="1567113" cy="556494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  <a:alpha val="50000"/>
          </a:schemeClr>
        </a:solidFill>
        <a:ln xmlns:a="http://schemas.openxmlformats.org/drawingml/2006/main" w="63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n-US" sz="900" dirty="0">
              <a:solidFill>
                <a:sysClr val="windowText" lastClr="000000"/>
              </a:solidFill>
            </a:rPr>
            <a:t>High storage</a:t>
          </a:r>
          <a:r>
            <a:rPr lang="en-US" sz="900" baseline="0" dirty="0">
              <a:solidFill>
                <a:sysClr val="windowText" lastClr="000000"/>
              </a:solidFill>
            </a:rPr>
            <a:t> stocks;</a:t>
          </a:r>
        </a:p>
        <a:p xmlns:a="http://schemas.openxmlformats.org/drawingml/2006/main">
          <a:pPr algn="l"/>
          <a:r>
            <a:rPr lang="en-US" sz="900" baseline="0" dirty="0">
              <a:solidFill>
                <a:sysClr val="windowText" lastClr="000000"/>
              </a:solidFill>
            </a:rPr>
            <a:t>Mild weather</a:t>
          </a:r>
        </a:p>
        <a:p xmlns:a="http://schemas.openxmlformats.org/drawingml/2006/main">
          <a:pPr algn="l"/>
          <a:r>
            <a:rPr lang="en-US" sz="900" dirty="0">
              <a:solidFill>
                <a:sysClr val="windowText" lastClr="000000"/>
              </a:solidFill>
            </a:rPr>
            <a:t>Industrial demand destruction</a:t>
          </a:r>
        </a:p>
      </cdr:txBody>
    </cdr:sp>
  </cdr:relSizeAnchor>
  <cdr:relSizeAnchor xmlns:cdr="http://schemas.openxmlformats.org/drawingml/2006/chartDrawing">
    <cdr:from>
      <cdr:x>0.52425</cdr:x>
      <cdr:y>0.674</cdr:y>
    </cdr:from>
    <cdr:to>
      <cdr:x>0.56742</cdr:x>
      <cdr:y>0.73164</cdr:y>
    </cdr:to>
    <cdr:sp macro="" textlink="">
      <cdr:nvSpPr>
        <cdr:cNvPr id="77" name="Oval 76"/>
        <cdr:cNvSpPr/>
      </cdr:nvSpPr>
      <cdr:spPr>
        <a:xfrm xmlns:a="http://schemas.openxmlformats.org/drawingml/2006/main" rot="16580629">
          <a:off x="4719894" y="2904765"/>
          <a:ext cx="253947" cy="383335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4742</cdr:x>
      <cdr:y>0.26347</cdr:y>
    </cdr:from>
    <cdr:to>
      <cdr:x>0.55022</cdr:x>
      <cdr:y>0.67417</cdr:y>
    </cdr:to>
    <cdr:cxnSp macro="">
      <cdr:nvCxnSpPr>
        <cdr:cNvPr id="85" name="Straight Connector 84">
          <a:extLst xmlns:a="http://schemas.openxmlformats.org/drawingml/2006/main">
            <a:ext uri="{FF2B5EF4-FFF2-40B4-BE49-F238E27FC236}">
              <a16:creationId xmlns:a16="http://schemas.microsoft.com/office/drawing/2014/main" id="{A78AAF1E-91E2-3536-64FC-2C8EAB85C070}"/>
            </a:ext>
          </a:extLst>
        </cdr:cNvPr>
        <cdr:cNvCxnSpPr>
          <a:stCxn xmlns:a="http://schemas.openxmlformats.org/drawingml/2006/main" id="77" idx="6"/>
          <a:endCxn xmlns:a="http://schemas.openxmlformats.org/drawingml/2006/main" id="86" idx="2"/>
        </cdr:cNvCxnSpPr>
      </cdr:nvCxnSpPr>
      <cdr:spPr>
        <a:xfrm xmlns:a="http://schemas.openxmlformats.org/drawingml/2006/main" flipV="1">
          <a:off x="4860898" y="1160768"/>
          <a:ext cx="24870" cy="1809469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7801</cdr:x>
      <cdr:y>0.19013</cdr:y>
    </cdr:from>
    <cdr:to>
      <cdr:x>0.62243</cdr:x>
      <cdr:y>0.26347</cdr:y>
    </cdr:to>
    <cdr:sp macro="" textlink="">
      <cdr:nvSpPr>
        <cdr:cNvPr id="86" name="Rectangle 85"/>
        <cdr:cNvSpPr/>
      </cdr:nvSpPr>
      <cdr:spPr>
        <a:xfrm xmlns:a="http://schemas.openxmlformats.org/drawingml/2006/main">
          <a:off x="4244567" y="837650"/>
          <a:ext cx="1282402" cy="323118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  <a:alpha val="50000"/>
          </a:schemeClr>
        </a:solidFill>
        <a:ln xmlns:a="http://schemas.openxmlformats.org/drawingml/2006/main" w="63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900" dirty="0">
              <a:solidFill>
                <a:sysClr val="windowText" lastClr="000000"/>
              </a:solidFill>
            </a:rPr>
            <a:t>Sizeable increase in EU LNG supply</a:t>
          </a:r>
          <a:endParaRPr lang="en-US" sz="900" dirty="0">
            <a:solidFill>
              <a:sysClr val="windowText" lastClr="000000"/>
            </a:solidFill>
          </a:endParaRPr>
        </a:p>
      </cdr:txBody>
    </cdr:sp>
  </cdr:relSizeAnchor>
  <cdr:relSizeAnchor xmlns:cdr="http://schemas.openxmlformats.org/drawingml/2006/chartDrawing">
    <cdr:from>
      <cdr:x>0.71396</cdr:x>
      <cdr:y>0.83768</cdr:y>
    </cdr:from>
    <cdr:to>
      <cdr:x>0.86241</cdr:x>
      <cdr:y>0.91303</cdr:y>
    </cdr:to>
    <cdr:sp macro="" textlink="">
      <cdr:nvSpPr>
        <cdr:cNvPr id="105" name="Rectangle 104"/>
        <cdr:cNvSpPr/>
      </cdr:nvSpPr>
      <cdr:spPr>
        <a:xfrm xmlns:a="http://schemas.openxmlformats.org/drawingml/2006/main">
          <a:off x="8045226" y="3847636"/>
          <a:ext cx="1672802" cy="346117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3"/>
        </a:solidFill>
        <a:ln xmlns:a="http://schemas.openxmlformats.org/drawingml/2006/main" w="6350">
          <a:solidFill>
            <a:schemeClr val="bg2">
              <a:lumMod val="2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t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900" dirty="0">
              <a:solidFill>
                <a:sysClr val="windowText" lastClr="000000"/>
              </a:solidFill>
            </a:rPr>
            <a:t>Russian flows drop across Nord Stream</a:t>
          </a:r>
        </a:p>
      </cdr:txBody>
    </cdr:sp>
  </cdr:relSizeAnchor>
  <cdr:relSizeAnchor xmlns:cdr="http://schemas.openxmlformats.org/drawingml/2006/chartDrawing">
    <cdr:from>
      <cdr:x>0.60533</cdr:x>
      <cdr:y>0.26668</cdr:y>
    </cdr:from>
    <cdr:to>
      <cdr:x>0.71357</cdr:x>
      <cdr:y>0.34002</cdr:y>
    </cdr:to>
    <cdr:sp macro="" textlink="">
      <cdr:nvSpPr>
        <cdr:cNvPr id="116" name="Rectangle 115"/>
        <cdr:cNvSpPr/>
      </cdr:nvSpPr>
      <cdr:spPr>
        <a:xfrm xmlns:a="http://schemas.openxmlformats.org/drawingml/2006/main">
          <a:off x="5375151" y="1174920"/>
          <a:ext cx="961135" cy="323117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  <a:alpha val="50000"/>
          </a:schemeClr>
        </a:solidFill>
        <a:ln xmlns:a="http://schemas.openxmlformats.org/drawingml/2006/main" w="63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900" dirty="0">
              <a:solidFill>
                <a:sysClr val="windowText" lastClr="000000"/>
              </a:solidFill>
            </a:rPr>
            <a:t>Post-invasion</a:t>
          </a:r>
          <a:r>
            <a:rPr lang="en-GB" sz="900" baseline="0" dirty="0">
              <a:solidFill>
                <a:sysClr val="windowText" lastClr="000000"/>
              </a:solidFill>
            </a:rPr>
            <a:t> volatility</a:t>
          </a:r>
          <a:endParaRPr lang="en-US" sz="900" dirty="0">
            <a:solidFill>
              <a:sysClr val="windowText" lastClr="000000"/>
            </a:solidFill>
          </a:endParaRPr>
        </a:p>
      </cdr:txBody>
    </cdr:sp>
  </cdr:relSizeAnchor>
  <cdr:relSizeAnchor xmlns:cdr="http://schemas.openxmlformats.org/drawingml/2006/chartDrawing">
    <cdr:from>
      <cdr:x>0.6725</cdr:x>
      <cdr:y>0.14674</cdr:y>
    </cdr:from>
    <cdr:to>
      <cdr:x>0.81789</cdr:x>
      <cdr:y>0.22011</cdr:y>
    </cdr:to>
    <cdr:sp macro="" textlink="">
      <cdr:nvSpPr>
        <cdr:cNvPr id="123" name="Rectangle 122"/>
        <cdr:cNvSpPr/>
      </cdr:nvSpPr>
      <cdr:spPr>
        <a:xfrm xmlns:a="http://schemas.openxmlformats.org/drawingml/2006/main" rot="12259">
          <a:off x="5971562" y="646508"/>
          <a:ext cx="1291049" cy="323249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  <a:alpha val="50000"/>
          </a:schemeClr>
        </a:solidFill>
        <a:ln xmlns:a="http://schemas.openxmlformats.org/drawingml/2006/main" w="63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900" dirty="0">
              <a:solidFill>
                <a:sysClr val="windowText" lastClr="000000"/>
              </a:solidFill>
            </a:rPr>
            <a:t>Structural uncertainty;</a:t>
          </a:r>
        </a:p>
        <a:p xmlns:a="http://schemas.openxmlformats.org/drawingml/2006/main">
          <a:pPr algn="ctr"/>
          <a:r>
            <a:rPr lang="en-US" sz="900" dirty="0">
              <a:solidFill>
                <a:sysClr val="windowText" lastClr="000000"/>
              </a:solidFill>
            </a:rPr>
            <a:t>Russian flow disruption</a:t>
          </a:r>
        </a:p>
      </cdr:txBody>
    </cdr:sp>
  </cdr:relSizeAnchor>
  <cdr:relSizeAnchor xmlns:cdr="http://schemas.openxmlformats.org/drawingml/2006/chartDrawing">
    <cdr:from>
      <cdr:x>0.23853</cdr:x>
      <cdr:y>0.51077</cdr:y>
    </cdr:from>
    <cdr:to>
      <cdr:x>0.41316</cdr:x>
      <cdr:y>0.58301</cdr:y>
    </cdr:to>
    <cdr:sp macro="" textlink="">
      <cdr:nvSpPr>
        <cdr:cNvPr id="134" name="Rectangle 133"/>
        <cdr:cNvSpPr/>
      </cdr:nvSpPr>
      <cdr:spPr>
        <a:xfrm xmlns:a="http://schemas.openxmlformats.org/drawingml/2006/main" rot="12259">
          <a:off x="2118108" y="2250338"/>
          <a:ext cx="1550656" cy="318271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  <a:alpha val="50000"/>
          </a:schemeClr>
        </a:solidFill>
        <a:ln xmlns:a="http://schemas.openxmlformats.org/drawingml/2006/main" w="63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900" dirty="0">
              <a:solidFill>
                <a:sysClr val="windowText" lastClr="000000"/>
              </a:solidFill>
              <a:effectLst/>
            </a:rPr>
            <a:t>Tight LNG supply;</a:t>
          </a:r>
        </a:p>
        <a:p xmlns:a="http://schemas.openxmlformats.org/drawingml/2006/main">
          <a:r>
            <a:rPr lang="en-GB" sz="900" dirty="0">
              <a:solidFill>
                <a:sysClr val="windowText" lastClr="000000"/>
              </a:solidFill>
              <a:effectLst/>
            </a:rPr>
            <a:t>Narrow pipeline flows</a:t>
          </a:r>
        </a:p>
      </cdr:txBody>
    </cdr:sp>
  </cdr:relSizeAnchor>
  <cdr:relSizeAnchor xmlns:cdr="http://schemas.openxmlformats.org/drawingml/2006/chartDrawing">
    <cdr:from>
      <cdr:x>0.88051</cdr:x>
      <cdr:y>0.59011</cdr:y>
    </cdr:from>
    <cdr:to>
      <cdr:x>0.9162</cdr:x>
      <cdr:y>0.70469</cdr:y>
    </cdr:to>
    <cdr:sp macro="" textlink="">
      <cdr:nvSpPr>
        <cdr:cNvPr id="146" name="Oval 145"/>
        <cdr:cNvSpPr/>
      </cdr:nvSpPr>
      <cdr:spPr>
        <a:xfrm xmlns:a="http://schemas.openxmlformats.org/drawingml/2006/main" rot="19765905">
          <a:off x="7818669" y="2599894"/>
          <a:ext cx="316915" cy="50481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44949</cdr:x>
      <cdr:y>0.09645</cdr:y>
    </cdr:from>
    <cdr:to>
      <cdr:x>0.62424</cdr:x>
      <cdr:y>0.18276</cdr:y>
    </cdr:to>
    <cdr:sp macro="" textlink="">
      <cdr:nvSpPr>
        <cdr:cNvPr id="147" name="Rectangle 146"/>
        <cdr:cNvSpPr/>
      </cdr:nvSpPr>
      <cdr:spPr>
        <a:xfrm xmlns:a="http://schemas.openxmlformats.org/drawingml/2006/main" rot="12259">
          <a:off x="3991286" y="424945"/>
          <a:ext cx="1551722" cy="380258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60000"/>
            <a:lumOff val="40000"/>
            <a:alpha val="50000"/>
          </a:schemeClr>
        </a:solidFill>
        <a:ln xmlns:a="http://schemas.openxmlformats.org/drawingml/2006/main" w="63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900" dirty="0">
              <a:solidFill>
                <a:sysClr val="windowText" lastClr="000000"/>
              </a:solidFill>
              <a:effectLst/>
              <a:latin typeface="+mn-lt"/>
              <a:ea typeface="+mn-ea"/>
              <a:cs typeface="+mn-cs"/>
            </a:rPr>
            <a:t>Low nuclear &amp; hydro</a:t>
          </a:r>
          <a:r>
            <a:rPr lang="en-GB" sz="900" baseline="0" dirty="0">
              <a:solidFill>
                <a:sysClr val="windowText" lastClr="000000"/>
              </a:solidFill>
              <a:effectLst/>
              <a:latin typeface="+mn-lt"/>
              <a:ea typeface="+mn-ea"/>
              <a:cs typeface="+mn-cs"/>
            </a:rPr>
            <a:t> o</a:t>
          </a:r>
          <a:r>
            <a:rPr lang="en-GB" sz="900" dirty="0">
              <a:solidFill>
                <a:sysClr val="windowText" lastClr="000000"/>
              </a:solidFill>
              <a:effectLst/>
              <a:latin typeface="+mn-lt"/>
              <a:ea typeface="+mn-ea"/>
              <a:cs typeface="+mn-cs"/>
            </a:rPr>
            <a:t>utput</a:t>
          </a:r>
        </a:p>
      </cdr:txBody>
    </cdr:sp>
  </cdr:relSizeAnchor>
  <cdr:relSizeAnchor xmlns:cdr="http://schemas.openxmlformats.org/drawingml/2006/chartDrawing">
    <cdr:from>
      <cdr:x>0.91742</cdr:x>
      <cdr:y>0.30706</cdr:y>
    </cdr:from>
    <cdr:to>
      <cdr:x>0.92766</cdr:x>
      <cdr:y>0.66615</cdr:y>
    </cdr:to>
    <cdr:cxnSp macro="">
      <cdr:nvCxnSpPr>
        <cdr:cNvPr id="149" name="Straight Connector 148">
          <a:extLst xmlns:a="http://schemas.openxmlformats.org/drawingml/2006/main">
            <a:ext uri="{FF2B5EF4-FFF2-40B4-BE49-F238E27FC236}">
              <a16:creationId xmlns:a16="http://schemas.microsoft.com/office/drawing/2014/main" id="{863A43A2-DA89-86E0-9969-678C02CB61B1}"/>
            </a:ext>
          </a:extLst>
        </cdr:cNvPr>
        <cdr:cNvCxnSpPr>
          <a:stCxn xmlns:a="http://schemas.openxmlformats.org/drawingml/2006/main" id="146" idx="5"/>
          <a:endCxn xmlns:a="http://schemas.openxmlformats.org/drawingml/2006/main" id="75" idx="2"/>
        </cdr:cNvCxnSpPr>
      </cdr:nvCxnSpPr>
      <cdr:spPr>
        <a:xfrm xmlns:a="http://schemas.openxmlformats.org/drawingml/2006/main" flipV="1">
          <a:off x="9937772" y="1323566"/>
          <a:ext cx="111002" cy="1547827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9757</cdr:x>
      <cdr:y>0.5695</cdr:y>
    </cdr:from>
    <cdr:to>
      <cdr:x>0.6299</cdr:x>
      <cdr:y>0.72512</cdr:y>
    </cdr:to>
    <cdr:sp macro="" textlink="">
      <cdr:nvSpPr>
        <cdr:cNvPr id="152" name="Oval 151"/>
        <cdr:cNvSpPr/>
      </cdr:nvSpPr>
      <cdr:spPr>
        <a:xfrm xmlns:a="http://schemas.openxmlformats.org/drawingml/2006/main" rot="1177545">
          <a:off x="5306237" y="2509050"/>
          <a:ext cx="287093" cy="685652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6267</cdr:x>
      <cdr:y>0.338</cdr:y>
    </cdr:from>
    <cdr:to>
      <cdr:x>0.62955</cdr:x>
      <cdr:y>0.57402</cdr:y>
    </cdr:to>
    <cdr:cxnSp macro="">
      <cdr:nvCxnSpPr>
        <cdr:cNvPr id="154" name="Straight Connector 153">
          <a:extLst xmlns:a="http://schemas.openxmlformats.org/drawingml/2006/main">
            <a:ext uri="{FF2B5EF4-FFF2-40B4-BE49-F238E27FC236}">
              <a16:creationId xmlns:a16="http://schemas.microsoft.com/office/drawing/2014/main" id="{EEA6096F-9038-6556-4A8F-E1842E839487}"/>
            </a:ext>
          </a:extLst>
        </cdr:cNvPr>
        <cdr:cNvCxnSpPr>
          <a:stCxn xmlns:a="http://schemas.openxmlformats.org/drawingml/2006/main" id="152" idx="0"/>
        </cdr:cNvCxnSpPr>
      </cdr:nvCxnSpPr>
      <cdr:spPr>
        <a:xfrm xmlns:a="http://schemas.openxmlformats.org/drawingml/2006/main" flipV="1">
          <a:off x="5564931" y="1489159"/>
          <a:ext cx="25248" cy="1039807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3194</cdr:x>
      <cdr:y>0.75836</cdr:y>
    </cdr:from>
    <cdr:to>
      <cdr:x>0.24058</cdr:x>
      <cdr:y>0.77697</cdr:y>
    </cdr:to>
    <cdr:sp macro="" textlink="">
      <cdr:nvSpPr>
        <cdr:cNvPr id="167" name="Down Arrow 166"/>
        <cdr:cNvSpPr/>
      </cdr:nvSpPr>
      <cdr:spPr>
        <a:xfrm xmlns:a="http://schemas.openxmlformats.org/drawingml/2006/main">
          <a:off x="2059548" y="3341148"/>
          <a:ext cx="76720" cy="81990"/>
        </a:xfrm>
        <a:prstGeom xmlns:a="http://schemas.openxmlformats.org/drawingml/2006/main" prst="downArrow">
          <a:avLst/>
        </a:prstGeom>
        <a:solidFill xmlns:a="http://schemas.openxmlformats.org/drawingml/2006/main">
          <a:schemeClr val="tx1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13571</cdr:x>
      <cdr:y>0.84329</cdr:y>
    </cdr:from>
    <cdr:to>
      <cdr:x>0.32109</cdr:x>
      <cdr:y>0.8876</cdr:y>
    </cdr:to>
    <cdr:sp macro="" textlink="">
      <cdr:nvSpPr>
        <cdr:cNvPr id="169" name="Rectangle 168"/>
        <cdr:cNvSpPr/>
      </cdr:nvSpPr>
      <cdr:spPr>
        <a:xfrm xmlns:a="http://schemas.openxmlformats.org/drawingml/2006/main">
          <a:off x="1470056" y="3634925"/>
          <a:ext cx="2008097" cy="191006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3"/>
        </a:solidFill>
        <a:ln xmlns:a="http://schemas.openxmlformats.org/drawingml/2006/main" w="6350">
          <a:solidFill>
            <a:schemeClr val="bg2">
              <a:lumMod val="25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t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900" dirty="0">
              <a:solidFill>
                <a:sysClr val="windowText" lastClr="000000"/>
              </a:solidFill>
            </a:rPr>
            <a:t>Ease of pandemic restrictions</a:t>
          </a:r>
        </a:p>
      </cdr:txBody>
    </cdr:sp>
  </cdr:relSizeAnchor>
  <cdr:relSizeAnchor xmlns:cdr="http://schemas.openxmlformats.org/drawingml/2006/chartDrawing">
    <cdr:from>
      <cdr:x>0.36476</cdr:x>
      <cdr:y>0.29539</cdr:y>
    </cdr:from>
    <cdr:to>
      <cdr:x>0.51833</cdr:x>
      <cdr:y>0.37002</cdr:y>
    </cdr:to>
    <cdr:sp macro="" textlink="">
      <cdr:nvSpPr>
        <cdr:cNvPr id="175" name="Rectangle 174"/>
        <cdr:cNvSpPr/>
      </cdr:nvSpPr>
      <cdr:spPr>
        <a:xfrm xmlns:a="http://schemas.openxmlformats.org/drawingml/2006/main">
          <a:off x="3238939" y="1301406"/>
          <a:ext cx="1363619" cy="328820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  <a:alpha val="50000"/>
          </a:schemeClr>
        </a:solidFill>
        <a:ln xmlns:a="http://schemas.openxmlformats.org/drawingml/2006/main" w="63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900" dirty="0">
              <a:solidFill>
                <a:sysClr val="windowText" lastClr="000000"/>
              </a:solidFill>
            </a:rPr>
            <a:t>Uncertainty</a:t>
          </a:r>
          <a:r>
            <a:rPr lang="en-GB" sz="900" baseline="0" dirty="0">
              <a:solidFill>
                <a:sysClr val="windowText" lastClr="000000"/>
              </a:solidFill>
            </a:rPr>
            <a:t> on Russian </a:t>
          </a:r>
          <a:r>
            <a:rPr lang="en-GB" sz="900" dirty="0">
              <a:solidFill>
                <a:sysClr val="windowText" lastClr="000000"/>
              </a:solidFill>
            </a:rPr>
            <a:t>supply</a:t>
          </a:r>
          <a:endParaRPr lang="en-US" sz="900" dirty="0">
            <a:solidFill>
              <a:sysClr val="windowText" lastClr="000000"/>
            </a:solidFill>
          </a:endParaRPr>
        </a:p>
      </cdr:txBody>
    </cdr:sp>
  </cdr:relSizeAnchor>
  <cdr:relSizeAnchor xmlns:cdr="http://schemas.openxmlformats.org/drawingml/2006/chartDrawing">
    <cdr:from>
      <cdr:x>0.41729</cdr:x>
      <cdr:y>0.66553</cdr:y>
    </cdr:from>
    <cdr:to>
      <cdr:x>0.46046</cdr:x>
      <cdr:y>0.72317</cdr:y>
    </cdr:to>
    <cdr:sp macro="" textlink="">
      <cdr:nvSpPr>
        <cdr:cNvPr id="177" name="Oval 176"/>
        <cdr:cNvSpPr/>
      </cdr:nvSpPr>
      <cdr:spPr>
        <a:xfrm xmlns:a="http://schemas.openxmlformats.org/drawingml/2006/main" rot="16580629">
          <a:off x="3770098" y="2867451"/>
          <a:ext cx="253948" cy="383336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44046</cdr:x>
      <cdr:y>0.37002</cdr:y>
    </cdr:from>
    <cdr:to>
      <cdr:x>0.44154</cdr:x>
      <cdr:y>0.6657</cdr:y>
    </cdr:to>
    <cdr:cxnSp macro="">
      <cdr:nvCxnSpPr>
        <cdr:cNvPr id="178" name="Straight Connector 177">
          <a:extLst xmlns:a="http://schemas.openxmlformats.org/drawingml/2006/main">
            <a:ext uri="{FF2B5EF4-FFF2-40B4-BE49-F238E27FC236}">
              <a16:creationId xmlns:a16="http://schemas.microsoft.com/office/drawing/2014/main" id="{E27F94DC-0B8C-C861-D5E0-6E7EB42BBB57}"/>
            </a:ext>
          </a:extLst>
        </cdr:cNvPr>
        <cdr:cNvCxnSpPr>
          <a:stCxn xmlns:a="http://schemas.openxmlformats.org/drawingml/2006/main" id="177" idx="6"/>
          <a:endCxn xmlns:a="http://schemas.openxmlformats.org/drawingml/2006/main" id="175" idx="2"/>
        </cdr:cNvCxnSpPr>
      </cdr:nvCxnSpPr>
      <cdr:spPr>
        <a:xfrm xmlns:a="http://schemas.openxmlformats.org/drawingml/2006/main" flipV="1">
          <a:off x="3911102" y="1630226"/>
          <a:ext cx="9647" cy="1302696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6142</cdr:x>
      <cdr:y>0.48472</cdr:y>
    </cdr:from>
    <cdr:to>
      <cdr:x>0.80573</cdr:x>
      <cdr:y>0.74709</cdr:y>
    </cdr:to>
    <cdr:sp macro="" textlink="">
      <cdr:nvSpPr>
        <cdr:cNvPr id="185" name="Oval 184"/>
        <cdr:cNvSpPr/>
      </cdr:nvSpPr>
      <cdr:spPr>
        <a:xfrm xmlns:a="http://schemas.openxmlformats.org/drawingml/2006/main" rot="2357995">
          <a:off x="6761161" y="2135561"/>
          <a:ext cx="393458" cy="1155935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7448</cdr:x>
      <cdr:y>0.22011</cdr:y>
    </cdr:from>
    <cdr:to>
      <cdr:x>0.74514</cdr:x>
      <cdr:y>0.6668</cdr:y>
    </cdr:to>
    <cdr:cxnSp macro="">
      <cdr:nvCxnSpPr>
        <cdr:cNvPr id="186" name="Straight Connector 185">
          <a:extLst xmlns:a="http://schemas.openxmlformats.org/drawingml/2006/main">
            <a:ext uri="{FF2B5EF4-FFF2-40B4-BE49-F238E27FC236}">
              <a16:creationId xmlns:a16="http://schemas.microsoft.com/office/drawing/2014/main" id="{0661B436-9F21-8852-CB14-233F1868A514}"/>
            </a:ext>
          </a:extLst>
        </cdr:cNvPr>
        <cdr:cNvCxnSpPr>
          <a:endCxn xmlns:a="http://schemas.openxmlformats.org/drawingml/2006/main" id="123" idx="2"/>
        </cdr:cNvCxnSpPr>
      </cdr:nvCxnSpPr>
      <cdr:spPr>
        <a:xfrm xmlns:a="http://schemas.openxmlformats.org/drawingml/2006/main" flipV="1">
          <a:off x="8067926" y="948763"/>
          <a:ext cx="3709" cy="1925413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4939</cdr:x>
      <cdr:y>0.71927</cdr:y>
    </cdr:from>
    <cdr:to>
      <cdr:x>0.40512</cdr:x>
      <cdr:y>0.76275</cdr:y>
    </cdr:to>
    <cdr:sp macro="" textlink="">
      <cdr:nvSpPr>
        <cdr:cNvPr id="190" name="Oval 189"/>
        <cdr:cNvSpPr/>
      </cdr:nvSpPr>
      <cdr:spPr>
        <a:xfrm xmlns:a="http://schemas.openxmlformats.org/drawingml/2006/main" rot="5132133">
          <a:off x="2810126" y="2573310"/>
          <a:ext cx="191566" cy="1382806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2579</cdr:x>
      <cdr:y>0.58301</cdr:y>
    </cdr:from>
    <cdr:to>
      <cdr:x>0.32641</cdr:x>
      <cdr:y>0.71934</cdr:y>
    </cdr:to>
    <cdr:cxnSp macro="">
      <cdr:nvCxnSpPr>
        <cdr:cNvPr id="191" name="Straight Connector 190">
          <a:extLst xmlns:a="http://schemas.openxmlformats.org/drawingml/2006/main">
            <a:ext uri="{FF2B5EF4-FFF2-40B4-BE49-F238E27FC236}">
              <a16:creationId xmlns:a16="http://schemas.microsoft.com/office/drawing/2014/main" id="{410DC92B-7643-CB82-8FC9-44934F9FAC29}"/>
            </a:ext>
          </a:extLst>
        </cdr:cNvPr>
        <cdr:cNvCxnSpPr>
          <a:stCxn xmlns:a="http://schemas.openxmlformats.org/drawingml/2006/main" id="190" idx="2"/>
          <a:endCxn xmlns:a="http://schemas.openxmlformats.org/drawingml/2006/main" id="134" idx="2"/>
        </cdr:cNvCxnSpPr>
      </cdr:nvCxnSpPr>
      <cdr:spPr>
        <a:xfrm xmlns:a="http://schemas.openxmlformats.org/drawingml/2006/main" flipH="1" flipV="1">
          <a:off x="2892869" y="2568608"/>
          <a:ext cx="5584" cy="600613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5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6684</cdr:x>
      <cdr:y>0.36622</cdr:y>
    </cdr:from>
    <cdr:to>
      <cdr:x>0.52482</cdr:x>
      <cdr:y>0.67499</cdr:y>
    </cdr:to>
    <cdr:sp macro="" textlink="">
      <cdr:nvSpPr>
        <cdr:cNvPr id="198" name="Oval 197"/>
        <cdr:cNvSpPr/>
      </cdr:nvSpPr>
      <cdr:spPr>
        <a:xfrm xmlns:a="http://schemas.openxmlformats.org/drawingml/2006/main" rot="1880500">
          <a:off x="4145341" y="1613473"/>
          <a:ext cx="514881" cy="1360355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4">
              <a:lumMod val="75000"/>
            </a:schemeClr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2778</cdr:x>
      <cdr:y>0.18276</cdr:y>
    </cdr:from>
    <cdr:to>
      <cdr:x>0.5368</cdr:x>
      <cdr:y>0.38875</cdr:y>
    </cdr:to>
    <cdr:cxnSp macro="">
      <cdr:nvCxnSpPr>
        <cdr:cNvPr id="199" name="Straight Connector 198">
          <a:extLst xmlns:a="http://schemas.openxmlformats.org/drawingml/2006/main">
            <a:ext uri="{FF2B5EF4-FFF2-40B4-BE49-F238E27FC236}">
              <a16:creationId xmlns:a16="http://schemas.microsoft.com/office/drawing/2014/main" id="{374A4C99-F9E3-14F5-9D71-3FDD7C635ED3}"/>
            </a:ext>
          </a:extLst>
        </cdr:cNvPr>
        <cdr:cNvCxnSpPr>
          <a:stCxn xmlns:a="http://schemas.openxmlformats.org/drawingml/2006/main" id="198" idx="0"/>
          <a:endCxn xmlns:a="http://schemas.openxmlformats.org/drawingml/2006/main" id="147" idx="2"/>
        </cdr:cNvCxnSpPr>
      </cdr:nvCxnSpPr>
      <cdr:spPr>
        <a:xfrm xmlns:a="http://schemas.openxmlformats.org/drawingml/2006/main" flipV="1">
          <a:off x="5717129" y="787769"/>
          <a:ext cx="97707" cy="887893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4">
              <a:lumMod val="75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406</cdr:x>
      <cdr:y>0.22072</cdr:y>
    </cdr:from>
    <cdr:to>
      <cdr:x>0.81977</cdr:x>
      <cdr:y>0.63942</cdr:y>
    </cdr:to>
    <cdr:sp macro="" textlink="">
      <cdr:nvSpPr>
        <cdr:cNvPr id="210" name="Oval 209"/>
        <cdr:cNvSpPr/>
      </cdr:nvSpPr>
      <cdr:spPr>
        <a:xfrm xmlns:a="http://schemas.openxmlformats.org/drawingml/2006/main" rot="1423867">
          <a:off x="6695798" y="972438"/>
          <a:ext cx="583455" cy="1844674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4">
              <a:lumMod val="75000"/>
            </a:schemeClr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74084</cdr:x>
      <cdr:y>0.06153</cdr:y>
    </cdr:from>
    <cdr:to>
      <cdr:x>0.91558</cdr:x>
      <cdr:y>0.13487</cdr:y>
    </cdr:to>
    <cdr:sp macro="" textlink="">
      <cdr:nvSpPr>
        <cdr:cNvPr id="211" name="Rectangle 210"/>
        <cdr:cNvSpPr/>
      </cdr:nvSpPr>
      <cdr:spPr>
        <a:xfrm xmlns:a="http://schemas.openxmlformats.org/drawingml/2006/main" rot="12259">
          <a:off x="6578379" y="271077"/>
          <a:ext cx="1551633" cy="323118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60000"/>
            <a:lumOff val="40000"/>
            <a:alpha val="50000"/>
          </a:schemeClr>
        </a:solidFill>
        <a:ln xmlns:a="http://schemas.openxmlformats.org/drawingml/2006/main" w="6350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900" dirty="0">
              <a:solidFill>
                <a:sysClr val="windowText" lastClr="000000"/>
              </a:solidFill>
              <a:effectLst/>
              <a:latin typeface="+mn-lt"/>
              <a:ea typeface="+mn-ea"/>
              <a:cs typeface="+mn-cs"/>
            </a:rPr>
            <a:t>Low nuclear &amp; </a:t>
          </a:r>
          <a:r>
            <a:rPr lang="en-GB" sz="900" dirty="0">
              <a:solidFill>
                <a:sysClr val="windowText" lastClr="000000"/>
              </a:solidFill>
            </a:rPr>
            <a:t>wind </a:t>
          </a:r>
          <a:r>
            <a:rPr lang="en-GB" sz="900" baseline="0" dirty="0">
              <a:solidFill>
                <a:sysClr val="windowText" lastClr="000000"/>
              </a:solidFill>
              <a:effectLst/>
              <a:latin typeface="+mn-lt"/>
              <a:ea typeface="+mn-ea"/>
              <a:cs typeface="+mn-cs"/>
            </a:rPr>
            <a:t>o</a:t>
          </a:r>
          <a:r>
            <a:rPr lang="en-GB" sz="900" dirty="0">
              <a:solidFill>
                <a:sysClr val="windowText" lastClr="000000"/>
              </a:solidFill>
              <a:effectLst/>
              <a:latin typeface="+mn-lt"/>
              <a:ea typeface="+mn-ea"/>
              <a:cs typeface="+mn-cs"/>
            </a:rPr>
            <a:t>utput</a:t>
          </a:r>
        </a:p>
      </cdr:txBody>
    </cdr:sp>
  </cdr:relSizeAnchor>
  <cdr:relSizeAnchor xmlns:cdr="http://schemas.openxmlformats.org/drawingml/2006/chartDrawing">
    <cdr:from>
      <cdr:x>0.82044</cdr:x>
      <cdr:y>0.13487</cdr:y>
    </cdr:from>
    <cdr:to>
      <cdr:x>0.82816</cdr:x>
      <cdr:y>0.23842</cdr:y>
    </cdr:to>
    <cdr:cxnSp macro="">
      <cdr:nvCxnSpPr>
        <cdr:cNvPr id="212" name="Straight Connector 211">
          <a:extLst xmlns:a="http://schemas.openxmlformats.org/drawingml/2006/main">
            <a:ext uri="{FF2B5EF4-FFF2-40B4-BE49-F238E27FC236}">
              <a16:creationId xmlns:a16="http://schemas.microsoft.com/office/drawing/2014/main" id="{58805956-022E-7EDC-8DE3-6F8D2C489386}"/>
            </a:ext>
          </a:extLst>
        </cdr:cNvPr>
        <cdr:cNvCxnSpPr>
          <a:stCxn xmlns:a="http://schemas.openxmlformats.org/drawingml/2006/main" id="210" idx="0"/>
          <a:endCxn xmlns:a="http://schemas.openxmlformats.org/drawingml/2006/main" id="211" idx="2"/>
        </cdr:cNvCxnSpPr>
      </cdr:nvCxnSpPr>
      <cdr:spPr>
        <a:xfrm xmlns:a="http://schemas.openxmlformats.org/drawingml/2006/main" flipV="1">
          <a:off x="8887284" y="581344"/>
          <a:ext cx="83597" cy="446351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4">
              <a:lumMod val="75000"/>
            </a:schemeClr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466</cdr:x>
      <cdr:y>0.77689</cdr:y>
    </cdr:from>
    <cdr:to>
      <cdr:x>0.7466</cdr:x>
      <cdr:y>0.83491</cdr:y>
    </cdr:to>
    <cdr:cxnSp macro="">
      <cdr:nvCxnSpPr>
        <cdr:cNvPr id="33" name="Straight Connector 32">
          <a:extLst xmlns:a="http://schemas.openxmlformats.org/drawingml/2006/main">
            <a:ext uri="{FF2B5EF4-FFF2-40B4-BE49-F238E27FC236}">
              <a16:creationId xmlns:a16="http://schemas.microsoft.com/office/drawing/2014/main" id="{114528B2-997E-F922-0C30-A1525CEF9007}"/>
            </a:ext>
          </a:extLst>
        </cdr:cNvPr>
        <cdr:cNvCxnSpPr/>
      </cdr:nvCxnSpPr>
      <cdr:spPr>
        <a:xfrm xmlns:a="http://schemas.openxmlformats.org/drawingml/2006/main">
          <a:off x="8087427" y="3348703"/>
          <a:ext cx="0" cy="25009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4263</cdr:x>
      <cdr:y>0.75124</cdr:y>
    </cdr:from>
    <cdr:to>
      <cdr:x>0.75127</cdr:x>
      <cdr:y>0.76985</cdr:y>
    </cdr:to>
    <cdr:sp macro="" textlink="">
      <cdr:nvSpPr>
        <cdr:cNvPr id="34" name="Down Arrow 33"/>
        <cdr:cNvSpPr/>
      </cdr:nvSpPr>
      <cdr:spPr>
        <a:xfrm xmlns:a="http://schemas.openxmlformats.org/drawingml/2006/main">
          <a:off x="8044447" y="3238156"/>
          <a:ext cx="93591" cy="80216"/>
        </a:xfrm>
        <a:prstGeom xmlns:a="http://schemas.openxmlformats.org/drawingml/2006/main" prst="downArrow">
          <a:avLst/>
        </a:prstGeom>
        <a:solidFill xmlns:a="http://schemas.openxmlformats.org/drawingml/2006/main">
          <a:schemeClr val="tx1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23632</cdr:x>
      <cdr:y>0.77889</cdr:y>
    </cdr:from>
    <cdr:to>
      <cdr:x>0.23632</cdr:x>
      <cdr:y>0.8439</cdr:y>
    </cdr:to>
    <cdr:cxnSp macro="">
      <cdr:nvCxnSpPr>
        <cdr:cNvPr id="35" name="Straight Connector 34">
          <a:extLst xmlns:a="http://schemas.openxmlformats.org/drawingml/2006/main">
            <a:ext uri="{FF2B5EF4-FFF2-40B4-BE49-F238E27FC236}">
              <a16:creationId xmlns:a16="http://schemas.microsoft.com/office/drawing/2014/main" id="{4080C656-4A75-DC81-4799-6660E50064CE}"/>
            </a:ext>
          </a:extLst>
        </cdr:cNvPr>
        <cdr:cNvCxnSpPr/>
      </cdr:nvCxnSpPr>
      <cdr:spPr>
        <a:xfrm xmlns:a="http://schemas.openxmlformats.org/drawingml/2006/main" flipH="1">
          <a:off x="2559895" y="3357329"/>
          <a:ext cx="0" cy="28022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  <a:prstDash val="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4C40F1-A64F-46CA-8ED1-96FE9DA36F38}" type="datetimeFigureOut">
              <a:rPr lang="en-BE" smtClean="0"/>
              <a:t>12/14/2022</a:t>
            </a:fld>
            <a:endParaRPr lang="en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116898-CE60-42D0-8091-885E9E5EF269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672274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20490D-1782-EA44-A3A5-3F8539CC8581}" type="slidenum">
              <a:rPr kumimoji="0" lang="en-S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S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6150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20490D-1782-EA44-A3A5-3F8539CC8581}" type="slidenum">
              <a:rPr kumimoji="0" lang="en-S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S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4157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65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20490D-1782-EA44-A3A5-3F8539CC8581}" type="slidenum">
              <a:rPr kumimoji="0" lang="en-SI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657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S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1978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20490D-1782-EA44-A3A5-3F8539CC8581}" type="slidenum">
              <a:rPr kumimoji="0" lang="en-S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S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7081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20490D-1782-EA44-A3A5-3F8539CC8581}" type="slidenum">
              <a:rPr kumimoji="0" lang="en-S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S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37365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20490D-1782-EA44-A3A5-3F8539CC8581}" type="slidenum">
              <a:rPr kumimoji="0" lang="en-S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S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90312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20490D-1782-EA44-A3A5-3F8539CC8581}" type="slidenum">
              <a:rPr kumimoji="0" lang="en-S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S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251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www.raponline.org/" TargetMode="External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aponline.org/" TargetMode="Externa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ferenc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EDA698F4-00EB-5620-14D0-A2B6072B6C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8290823" cy="10288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0145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o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820831" y="3017511"/>
            <a:ext cx="16631566" cy="831158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>
              <a:lnSpc>
                <a:spcPct val="110000"/>
              </a:lnSpc>
              <a:buNone/>
              <a:defRPr sz="4801" b="1" spc="-14" baseline="0">
                <a:solidFill>
                  <a:srgbClr val="083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837767" y="4007795"/>
            <a:ext cx="7874498" cy="6560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rgbClr val="F15B55"/>
              </a:buClr>
              <a:buFont typeface="Arial" panose="020B0604020202020204" pitchFamily="34" charset="0"/>
              <a:buNone/>
              <a:defRPr lang="en-US" sz="4201" b="0" i="0" spc="0" smtClean="0">
                <a:solidFill>
                  <a:srgbClr val="083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607197" y="4007795"/>
            <a:ext cx="7874498" cy="6560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rgbClr val="F15B55"/>
              </a:buClr>
              <a:buFont typeface="Arial" panose="020B0604020202020204" pitchFamily="34" charset="0"/>
              <a:buNone/>
              <a:defRPr lang="en-US" sz="4201" b="0" i="0" spc="0" smtClean="0">
                <a:solidFill>
                  <a:srgbClr val="083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006FC50-3D9C-A844-94E8-6A053D56C40D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84092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820831" y="3162538"/>
            <a:ext cx="16665950" cy="4611062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514419" indent="-514419">
              <a:lnSpc>
                <a:spcPct val="110000"/>
              </a:lnSpc>
              <a:spcBef>
                <a:spcPts val="1227"/>
              </a:spcBef>
              <a:buClr>
                <a:srgbClr val="F15B55"/>
              </a:buClr>
              <a:buFont typeface="Arial"/>
              <a:buChar char="•"/>
              <a:defRPr lang="en-US" sz="4201" b="0" i="0" spc="0" smtClean="0">
                <a:solidFill>
                  <a:srgbClr val="414042"/>
                </a:solidFill>
                <a:effectLst/>
                <a:latin typeface="Arial"/>
                <a:cs typeface="Arial"/>
              </a:defRPr>
            </a:lvl1pPr>
            <a:lvl2pPr>
              <a:lnSpc>
                <a:spcPct val="110000"/>
              </a:lnSpc>
              <a:buClr>
                <a:schemeClr val="accent5"/>
              </a:buClr>
              <a:buSzPct val="70000"/>
              <a:defRPr sz="4201">
                <a:solidFill>
                  <a:srgbClr val="414042"/>
                </a:solidFill>
                <a:latin typeface="Arial"/>
                <a:cs typeface="Arial"/>
              </a:defRPr>
            </a:lvl2pPr>
            <a:lvl3pPr>
              <a:lnSpc>
                <a:spcPct val="110000"/>
              </a:lnSpc>
              <a:buClr>
                <a:srgbClr val="414042"/>
              </a:buClr>
              <a:buSzPct val="70000"/>
              <a:defRPr sz="4201">
                <a:solidFill>
                  <a:srgbClr val="414042"/>
                </a:solidFill>
                <a:latin typeface="Arial"/>
                <a:cs typeface="Arial"/>
              </a:defRPr>
            </a:lvl3pPr>
            <a:lvl4pPr>
              <a:buSzPct val="70000"/>
              <a:defRPr sz="4201">
                <a:solidFill>
                  <a:srgbClr val="414042"/>
                </a:solidFill>
                <a:latin typeface="Arial"/>
                <a:cs typeface="Arial"/>
              </a:defRPr>
            </a:lvl4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One</a:t>
            </a:r>
          </a:p>
          <a:p>
            <a:pPr lvl="1"/>
            <a:r>
              <a:rPr lang="en-US"/>
              <a:t>Two</a:t>
            </a:r>
          </a:p>
          <a:p>
            <a:pPr lvl="2"/>
            <a:r>
              <a:rPr lang="en-US"/>
              <a:t>Three</a:t>
            </a:r>
          </a:p>
          <a:p>
            <a:pPr lvl="3"/>
            <a:r>
              <a:rPr lang="en-US"/>
              <a:t>Four</a:t>
            </a:r>
          </a:p>
          <a:p>
            <a:pPr lvl="3"/>
            <a:endParaRPr lang="en-US"/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02945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No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822617" y="2481788"/>
            <a:ext cx="5378782" cy="66636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036" tIns="60518" rIns="121036" bIns="60518" rtlCol="0" anchor="ctr"/>
          <a:lstStyle/>
          <a:p>
            <a:pPr algn="ctr"/>
            <a:endParaRPr lang="en-US" sz="2700"/>
          </a:p>
        </p:txBody>
      </p:sp>
      <p:sp>
        <p:nvSpPr>
          <p:cNvPr id="14" name="Rectangle 13"/>
          <p:cNvSpPr/>
          <p:nvPr userDrawn="1"/>
        </p:nvSpPr>
        <p:spPr>
          <a:xfrm>
            <a:off x="12114293" y="2481788"/>
            <a:ext cx="5378782" cy="6663624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036" tIns="60518" rIns="121036" bIns="60518" rtlCol="0" anchor="ctr"/>
          <a:lstStyle/>
          <a:p>
            <a:pPr algn="ctr"/>
            <a:endParaRPr lang="en-US" sz="270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77881" y="2707084"/>
            <a:ext cx="4810302" cy="65601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4201" b="1" spc="-14" baseline="0">
                <a:solidFill>
                  <a:srgbClr val="083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38851" y="2707084"/>
            <a:ext cx="4810302" cy="65601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rtl="0">
              <a:lnSpc>
                <a:spcPct val="110000"/>
              </a:lnSpc>
              <a:spcBef>
                <a:spcPts val="0"/>
              </a:spcBef>
              <a:buNone/>
              <a:defRPr sz="4201" b="1" spc="-14" baseline="0">
                <a:solidFill>
                  <a:srgbClr val="083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12392123" y="2707084"/>
            <a:ext cx="4810302" cy="65601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rtl="0">
              <a:lnSpc>
                <a:spcPct val="110000"/>
              </a:lnSpc>
              <a:spcBef>
                <a:spcPts val="0"/>
              </a:spcBef>
              <a:buNone/>
              <a:defRPr sz="4201" b="1" spc="-14" baseline="0">
                <a:solidFill>
                  <a:srgbClr val="083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1077881" y="3688649"/>
            <a:ext cx="4810302" cy="6560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rgbClr val="F15B55"/>
              </a:buClr>
              <a:buFont typeface="Arial" panose="020B0604020202020204" pitchFamily="34" charset="0"/>
              <a:buNone/>
              <a:defRPr lang="en-US" sz="4201" b="0" i="0" spc="0" smtClean="0">
                <a:solidFill>
                  <a:srgbClr val="41404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12392123" y="3673407"/>
            <a:ext cx="4810302" cy="6560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rgbClr val="F15B55"/>
              </a:buClr>
              <a:buFont typeface="Arial" panose="020B0604020202020204" pitchFamily="34" charset="0"/>
              <a:buNone/>
              <a:defRPr lang="en-US" sz="4201" b="0" i="0" spc="0" smtClean="0">
                <a:solidFill>
                  <a:srgbClr val="41404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6752695" y="3688649"/>
            <a:ext cx="4810302" cy="6560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rgbClr val="F15B55"/>
              </a:buClr>
              <a:buFont typeface="Arial" panose="020B0604020202020204" pitchFamily="34" charset="0"/>
              <a:buNone/>
              <a:defRPr lang="en-US" sz="4201" b="0" i="0" spc="0" smtClean="0">
                <a:solidFill>
                  <a:srgbClr val="41404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0831" y="1028860"/>
            <a:ext cx="16631566" cy="142297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71458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nese 1 Column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820832" y="3107166"/>
            <a:ext cx="16665948" cy="864437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>
              <a:lnSpc>
                <a:spcPct val="110000"/>
              </a:lnSpc>
              <a:buNone/>
              <a:defRPr sz="4801" spc="-83" baseline="0">
                <a:solidFill>
                  <a:schemeClr val="accent6"/>
                </a:solidFill>
                <a:latin typeface="STHeiti" panose="02010600040101010101" pitchFamily="2" charset="-128"/>
                <a:ea typeface="STHeiti" panose="02010600040101010101" pitchFamily="2" charset="-128"/>
                <a:cs typeface="STHeiti" panose="02010600040101010101" pitchFamily="2" charset="-128"/>
              </a:defRPr>
            </a:lvl1pPr>
          </a:lstStyle>
          <a:p>
            <a:pPr lvl="0"/>
            <a:r>
              <a:rPr lang="en-US" altLang="zh-CN"/>
              <a:t>Click to edit</a:t>
            </a:r>
          </a:p>
        </p:txBody>
      </p:sp>
      <p:sp>
        <p:nvSpPr>
          <p:cNvPr id="2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804023" y="3968049"/>
            <a:ext cx="16665950" cy="737479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467632" indent="-467632">
              <a:lnSpc>
                <a:spcPct val="110000"/>
              </a:lnSpc>
              <a:spcBef>
                <a:spcPts val="1227"/>
              </a:spcBef>
              <a:buClr>
                <a:srgbClr val="F15B55"/>
              </a:buClr>
              <a:buFont typeface="Arial" panose="020B0604020202020204" pitchFamily="34" charset="0"/>
              <a:buChar char="•"/>
              <a:defRPr lang="en-US" sz="4201" b="0" i="0" spc="0" smtClean="0">
                <a:solidFill>
                  <a:srgbClr val="41404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732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nese 2 Column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829424" y="3086577"/>
            <a:ext cx="16682756" cy="864437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rgbClr val="F15B55"/>
              </a:buClr>
              <a:buFont typeface="Arial" panose="020B0604020202020204" pitchFamily="34" charset="0"/>
              <a:buNone/>
              <a:defRPr sz="4801" spc="-14" baseline="0">
                <a:solidFill>
                  <a:srgbClr val="414042"/>
                </a:solidFill>
                <a:latin typeface="STHeiti"/>
                <a:ea typeface="STHeiti"/>
                <a:cs typeface="STHeiti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626595" y="4055571"/>
            <a:ext cx="7899406" cy="766590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 rtl="0">
              <a:lnSpc>
                <a:spcPct val="110000"/>
              </a:lnSpc>
              <a:spcBef>
                <a:spcPts val="0"/>
              </a:spcBef>
              <a:buNone/>
              <a:defRPr sz="4201" b="0" spc="-14" baseline="0">
                <a:solidFill>
                  <a:srgbClr val="083050"/>
                </a:solidFill>
                <a:latin typeface="STHeiti" panose="02010600040101010101" pitchFamily="2" charset="-128"/>
                <a:ea typeface="STHeiti" panose="02010600040101010101" pitchFamily="2" charset="-128"/>
                <a:cs typeface="STHeiti" panose="02010600040101010101" pitchFamily="2" charset="-128"/>
              </a:defRPr>
            </a:lvl1pPr>
          </a:lstStyle>
          <a:p>
            <a:pPr lvl="0"/>
            <a:r>
              <a:rPr lang="en-US" altLang="zh-CN"/>
              <a:t>Click to edit</a:t>
            </a:r>
            <a:endParaRPr lang="zh-CN" altLang="en-US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626595" y="4816027"/>
            <a:ext cx="7899406" cy="766590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467632" indent="-467632" rtl="0">
              <a:lnSpc>
                <a:spcPct val="110000"/>
              </a:lnSpc>
              <a:spcBef>
                <a:spcPts val="1364"/>
              </a:spcBef>
              <a:buClr>
                <a:srgbClr val="F15B55"/>
              </a:buClr>
              <a:buFont typeface="Arial" panose="020B0604020202020204" pitchFamily="34" charset="0"/>
              <a:buChar char="•"/>
              <a:defRPr sz="4201" spc="-69" baseline="0">
                <a:solidFill>
                  <a:srgbClr val="414042"/>
                </a:solidFill>
                <a:latin typeface="STHeiti" panose="02010600040101010101" pitchFamily="2" charset="-128"/>
                <a:ea typeface="STHeiti" panose="02010600040101010101" pitchFamily="2" charset="-128"/>
                <a:cs typeface="STHeiti" panose="02010600040101010101" pitchFamily="2" charset="-128"/>
              </a:defRPr>
            </a:lvl1pPr>
          </a:lstStyle>
          <a:p>
            <a:pPr lvl="0"/>
            <a:r>
              <a:rPr lang="en-US" altLang="zh-CN"/>
              <a:t>Click to edit</a:t>
            </a:r>
            <a:endParaRPr lang="en-US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829425" y="4068211"/>
            <a:ext cx="7899710" cy="766590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 rtl="0">
              <a:lnSpc>
                <a:spcPct val="110000"/>
              </a:lnSpc>
              <a:spcBef>
                <a:spcPts val="0"/>
              </a:spcBef>
              <a:buNone/>
              <a:defRPr sz="4201" b="0" spc="-14" baseline="0">
                <a:solidFill>
                  <a:srgbClr val="083050"/>
                </a:solidFill>
                <a:latin typeface="STHeiti" panose="02010600040101010101" pitchFamily="2" charset="-128"/>
                <a:ea typeface="STHeiti" panose="02010600040101010101" pitchFamily="2" charset="-128"/>
                <a:cs typeface="STHeiti" panose="02010600040101010101" pitchFamily="2" charset="-128"/>
              </a:defRPr>
            </a:lvl1pPr>
          </a:lstStyle>
          <a:p>
            <a:pPr lvl="0"/>
            <a:r>
              <a:rPr lang="en-US" altLang="zh-CN"/>
              <a:t>Click to edit</a:t>
            </a:r>
            <a:endParaRPr lang="zh-CN" altLang="en-US"/>
          </a:p>
        </p:txBody>
      </p:sp>
      <p:sp>
        <p:nvSpPr>
          <p:cNvPr id="31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829425" y="4828666"/>
            <a:ext cx="7899710" cy="766590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467632" indent="-467632" rtl="0">
              <a:lnSpc>
                <a:spcPct val="110000"/>
              </a:lnSpc>
              <a:spcBef>
                <a:spcPts val="1364"/>
              </a:spcBef>
              <a:buClr>
                <a:srgbClr val="F15B55"/>
              </a:buClr>
              <a:buFont typeface="Arial" panose="020B0604020202020204" pitchFamily="34" charset="0"/>
              <a:buChar char="•"/>
              <a:defRPr sz="4201" spc="-69" baseline="0">
                <a:solidFill>
                  <a:srgbClr val="414042"/>
                </a:solidFill>
                <a:latin typeface="STHeiti" panose="02010600040101010101" pitchFamily="2" charset="-128"/>
                <a:ea typeface="STHeiti" panose="02010600040101010101" pitchFamily="2" charset="-128"/>
                <a:cs typeface="STHeiti" panose="02010600040101010101" pitchFamily="2" charset="-128"/>
              </a:defRPr>
            </a:lvl1pPr>
          </a:lstStyle>
          <a:p>
            <a:pPr lvl="0"/>
            <a:r>
              <a:rPr lang="en-US" altLang="zh-CN"/>
              <a:t>Click to edit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72068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nese Translation 2 Column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820958" y="3093285"/>
            <a:ext cx="7834984" cy="737479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 rtl="0">
              <a:lnSpc>
                <a:spcPct val="110000"/>
              </a:lnSpc>
              <a:spcBef>
                <a:spcPts val="0"/>
              </a:spcBef>
              <a:buNone/>
              <a:defRPr sz="4201" b="1" spc="-14" baseline="0">
                <a:solidFill>
                  <a:srgbClr val="083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820959" y="3848649"/>
            <a:ext cx="7834986" cy="737479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467632" indent="-467632" rtl="0">
              <a:lnSpc>
                <a:spcPct val="110000"/>
              </a:lnSpc>
              <a:spcBef>
                <a:spcPts val="1364"/>
              </a:spcBef>
              <a:buClr>
                <a:srgbClr val="F15B55"/>
              </a:buClr>
              <a:buFont typeface="Arial" panose="020B0604020202020204" pitchFamily="34" charset="0"/>
              <a:buChar char="•"/>
              <a:defRPr sz="4201" spc="-69" baseline="0">
                <a:solidFill>
                  <a:srgbClr val="4140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584083" y="3093276"/>
            <a:ext cx="7868314" cy="766590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 rtl="0">
              <a:lnSpc>
                <a:spcPct val="110000"/>
              </a:lnSpc>
              <a:spcBef>
                <a:spcPts val="0"/>
              </a:spcBef>
              <a:buNone/>
              <a:defRPr sz="4201" b="0" spc="-14" baseline="0">
                <a:solidFill>
                  <a:srgbClr val="083050"/>
                </a:solidFill>
                <a:latin typeface="STHeiti" panose="02010600040101010101" pitchFamily="2" charset="-128"/>
                <a:ea typeface="STHeiti" panose="02010600040101010101" pitchFamily="2" charset="-128"/>
                <a:cs typeface="STHeiti" panose="02010600040101010101" pitchFamily="2" charset="-128"/>
              </a:defRPr>
            </a:lvl1pPr>
          </a:lstStyle>
          <a:p>
            <a:pPr lvl="0"/>
            <a:r>
              <a:rPr lang="en-US" altLang="zh-CN"/>
              <a:t>Click to edit</a:t>
            </a:r>
            <a:endParaRPr lang="zh-CN" altLang="en-US"/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9584083" y="3853732"/>
            <a:ext cx="7868314" cy="766590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467632" indent="-467632" rtl="0">
              <a:lnSpc>
                <a:spcPct val="110000"/>
              </a:lnSpc>
              <a:spcBef>
                <a:spcPts val="1364"/>
              </a:spcBef>
              <a:buClr>
                <a:srgbClr val="F15B55"/>
              </a:buClr>
              <a:buFont typeface="Arial" panose="020B0604020202020204" pitchFamily="34" charset="0"/>
              <a:buChar char="•"/>
              <a:defRPr sz="4201" spc="-69" baseline="0">
                <a:solidFill>
                  <a:srgbClr val="414042"/>
                </a:solidFill>
                <a:latin typeface="STHeiti" panose="02010600040101010101" pitchFamily="2" charset="-128"/>
                <a:ea typeface="STHeiti" panose="02010600040101010101" pitchFamily="2" charset="-128"/>
                <a:cs typeface="STHeiti" panose="02010600040101010101" pitchFamily="2" charset="-128"/>
              </a:defRPr>
            </a:lvl1pPr>
          </a:lstStyle>
          <a:p>
            <a:pPr lvl="0"/>
            <a:r>
              <a:rPr lang="en-US" altLang="zh-CN"/>
              <a:t>Click to edit</a:t>
            </a:r>
            <a:endParaRPr lang="en-US"/>
          </a:p>
        </p:txBody>
      </p:sp>
      <p:sp>
        <p:nvSpPr>
          <p:cNvPr id="2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3938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With Imag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9594170" y="3104302"/>
            <a:ext cx="7892612" cy="5812475"/>
          </a:xfrm>
          <a:prstGeom prst="ellipse">
            <a:avLst/>
          </a:prstGeom>
          <a:ln>
            <a:noFill/>
          </a:ln>
        </p:spPr>
        <p:txBody>
          <a:bodyPr lIns="80678" tIns="40339" rIns="80678" bIns="40339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815479" y="3086576"/>
            <a:ext cx="7874498" cy="6560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rgbClr val="F15B55"/>
              </a:buClr>
              <a:buFont typeface="Arial" panose="020B0604020202020204" pitchFamily="34" charset="0"/>
              <a:buNone/>
              <a:defRPr lang="en-US" sz="4201" b="0" i="0" spc="0" smtClean="0">
                <a:solidFill>
                  <a:srgbClr val="083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96547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2 Column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12"/>
          <p:cNvSpPr>
            <a:spLocks noGrp="1"/>
          </p:cNvSpPr>
          <p:nvPr>
            <p:ph type="chart" sz="quarter" idx="14"/>
          </p:nvPr>
        </p:nvSpPr>
        <p:spPr>
          <a:xfrm>
            <a:off x="7852760" y="3041636"/>
            <a:ext cx="9634020" cy="6332411"/>
          </a:xfrm>
          <a:prstGeom prst="rect">
            <a:avLst/>
          </a:prstGeom>
        </p:spPr>
        <p:txBody>
          <a:bodyPr lIns="80678" tIns="40339" rIns="80678" bIns="40339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815479" y="3041635"/>
            <a:ext cx="6499722" cy="6560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rgbClr val="F15B55"/>
              </a:buClr>
              <a:buFont typeface="Arial" panose="020B0604020202020204" pitchFamily="34" charset="0"/>
              <a:buNone/>
              <a:defRPr lang="en-US" sz="4201" b="0" i="0" spc="0" smtClean="0">
                <a:solidFill>
                  <a:srgbClr val="083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74831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Source Text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16688" y="8899157"/>
            <a:ext cx="16670896" cy="332432"/>
          </a:xfrm>
          <a:prstGeom prst="rect">
            <a:avLst/>
          </a:prstGeom>
        </p:spPr>
        <p:txBody>
          <a:bodyPr wrap="square" lIns="80678" tIns="40339" rIns="80678" bIns="40339">
            <a:spAutoFit/>
          </a:bodyPr>
          <a:lstStyle>
            <a:lvl1pPr marL="0" indent="0">
              <a:lnSpc>
                <a:spcPts val="2181"/>
              </a:lnSpc>
              <a:spcBef>
                <a:spcPts val="0"/>
              </a:spcBef>
              <a:buNone/>
              <a:defRPr sz="1350" spc="0" baseline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5"/>
          </p:nvPr>
        </p:nvSpPr>
        <p:spPr>
          <a:xfrm>
            <a:off x="816690" y="3202456"/>
            <a:ext cx="16635708" cy="5249577"/>
          </a:xfrm>
          <a:prstGeom prst="rect">
            <a:avLst/>
          </a:prstGeom>
        </p:spPr>
        <p:txBody>
          <a:bodyPr lIns="80678" tIns="40339" rIns="80678" bIns="40339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86883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- Simple styl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able Placeholder 15"/>
          <p:cNvSpPr>
            <a:spLocks noGrp="1"/>
          </p:cNvSpPr>
          <p:nvPr>
            <p:ph type="tbl" sz="quarter" idx="15"/>
          </p:nvPr>
        </p:nvSpPr>
        <p:spPr>
          <a:xfrm>
            <a:off x="822615" y="3994752"/>
            <a:ext cx="16629782" cy="3918893"/>
          </a:xfrm>
          <a:prstGeom prst="rect">
            <a:avLst/>
          </a:prstGeom>
        </p:spPr>
        <p:txBody>
          <a:bodyPr lIns="80678" tIns="40339" rIns="80678" bIns="40339"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02056" y="8916777"/>
            <a:ext cx="16670896" cy="332432"/>
          </a:xfrm>
          <a:prstGeom prst="rect">
            <a:avLst/>
          </a:prstGeom>
        </p:spPr>
        <p:txBody>
          <a:bodyPr wrap="square" lIns="80678" tIns="40339" rIns="80678" bIns="40339">
            <a:spAutoFit/>
          </a:bodyPr>
          <a:lstStyle>
            <a:lvl1pPr marL="0" indent="0">
              <a:lnSpc>
                <a:spcPts val="2181"/>
              </a:lnSpc>
              <a:spcBef>
                <a:spcPts val="0"/>
              </a:spcBef>
              <a:buNone/>
              <a:defRPr sz="1350" spc="0" baseline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820830" y="3054899"/>
            <a:ext cx="16654088" cy="737479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>
              <a:lnSpc>
                <a:spcPct val="110000"/>
              </a:lnSpc>
              <a:buNone/>
              <a:defRPr sz="4201" b="1" spc="-14" baseline="0">
                <a:solidFill>
                  <a:srgbClr val="083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535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ss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C5A0578C-704E-7F8B-A1DF-68893149B3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8290823" cy="102885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09997" y="1543316"/>
            <a:ext cx="11473840" cy="1656689"/>
          </a:xfrm>
        </p:spPr>
        <p:txBody>
          <a:bodyPr lIns="0" tIns="0" anchor="t" anchorCtr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68071" y="3660405"/>
            <a:ext cx="11473840" cy="547772"/>
          </a:xfrm>
        </p:spPr>
        <p:txBody>
          <a:bodyPr wrap="none" lIns="0" tIns="0" anchor="t" anchorCtr="0">
            <a:noAutofit/>
          </a:bodyPr>
          <a:lstStyle>
            <a:lvl1pPr marL="193246" indent="0">
              <a:buClr>
                <a:srgbClr val="BCCEE7"/>
              </a:buClr>
              <a:buSzPct val="25000"/>
              <a:buFont typeface="Arial" panose="020B0604020202020204" pitchFamily="34" charset="0"/>
              <a:buChar char="•"/>
              <a:tabLst/>
              <a:defRPr sz="3812" b="0"/>
            </a:lvl1pPr>
            <a:lvl2pPr marL="212570" indent="0">
              <a:buClr>
                <a:srgbClr val="BCCEE7"/>
              </a:buClr>
              <a:buSzPct val="50000"/>
              <a:buFont typeface="Arial" panose="020B0604020202020204" pitchFamily="34" charset="0"/>
              <a:buChar char="•"/>
              <a:tabLst/>
              <a:defRPr sz="1879" b="0" cap="all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31895" indent="0">
              <a:spcBef>
                <a:spcPts val="645"/>
              </a:spcBef>
              <a:spcAft>
                <a:spcPts val="0"/>
              </a:spcAft>
              <a:buNone/>
              <a:tabLst/>
              <a:defRPr sz="1950" b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009707" indent="0">
              <a:buNone/>
              <a:defRPr sz="2344" b="1"/>
            </a:lvl4pPr>
            <a:lvl5pPr marL="2679612" indent="0">
              <a:buNone/>
              <a:defRPr sz="2344" b="1"/>
            </a:lvl5pPr>
            <a:lvl6pPr marL="3349511" indent="0">
              <a:buNone/>
              <a:defRPr sz="2344" b="1"/>
            </a:lvl6pPr>
            <a:lvl7pPr marL="4019412" indent="0">
              <a:buNone/>
              <a:defRPr sz="2344" b="1"/>
            </a:lvl7pPr>
            <a:lvl8pPr marL="4689315" indent="0">
              <a:buNone/>
              <a:defRPr sz="2344" b="1"/>
            </a:lvl8pPr>
            <a:lvl9pPr marL="5359216" indent="0">
              <a:buNone/>
              <a:defRPr sz="2344" b="1"/>
            </a:lvl9pPr>
          </a:lstStyle>
          <a:p>
            <a:pPr lvl="2"/>
            <a:r>
              <a:rPr lang="en-GB" noProof="0"/>
              <a:t>Presentations by</a:t>
            </a:r>
          </a:p>
          <a:p>
            <a:pPr lvl="0"/>
            <a:r>
              <a:rPr lang="en-GB" noProof="0"/>
              <a:t>Name of presenter</a:t>
            </a:r>
          </a:p>
          <a:p>
            <a:pPr lvl="1"/>
            <a:r>
              <a:rPr lang="en-GB" noProof="0"/>
              <a:t>Title of presenter</a:t>
            </a:r>
          </a:p>
          <a:p>
            <a:pPr lvl="1"/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909997" y="910159"/>
            <a:ext cx="11473840" cy="633149"/>
          </a:xfrm>
        </p:spPr>
        <p:txBody>
          <a:bodyPr wrap="none" lIns="0" tIns="0" anchor="t" anchorCtr="0">
            <a:noAutofit/>
          </a:bodyPr>
          <a:lstStyle>
            <a:lvl1pPr marL="0" indent="0">
              <a:buNone/>
              <a:defRPr sz="3500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69904" indent="0">
              <a:buNone/>
              <a:defRPr sz="2931" b="1"/>
            </a:lvl2pPr>
            <a:lvl3pPr marL="1339803" indent="0">
              <a:buNone/>
              <a:defRPr sz="2637" b="1"/>
            </a:lvl3pPr>
            <a:lvl4pPr marL="2009707" indent="0">
              <a:buNone/>
              <a:defRPr sz="2344" b="1"/>
            </a:lvl4pPr>
            <a:lvl5pPr marL="2679612" indent="0">
              <a:buNone/>
              <a:defRPr sz="2344" b="1"/>
            </a:lvl5pPr>
            <a:lvl6pPr marL="3349511" indent="0">
              <a:buNone/>
              <a:defRPr sz="2344" b="1"/>
            </a:lvl6pPr>
            <a:lvl7pPr marL="4019412" indent="0">
              <a:buNone/>
              <a:defRPr sz="2344" b="1"/>
            </a:lvl7pPr>
            <a:lvl8pPr marL="4689315" indent="0">
              <a:buNone/>
              <a:defRPr sz="2344" b="1"/>
            </a:lvl8pPr>
            <a:lvl9pPr marL="5359216" indent="0">
              <a:buNone/>
              <a:defRPr sz="2344" b="1"/>
            </a:lvl9pPr>
          </a:lstStyle>
          <a:p>
            <a:pPr lvl="0"/>
            <a:r>
              <a:rPr lang="en-GB" noProof="0"/>
              <a:t>SESSION XXX</a:t>
            </a:r>
          </a:p>
        </p:txBody>
      </p:sp>
    </p:spTree>
    <p:extLst>
      <p:ext uri="{BB962C8B-B14F-4D97-AF65-F5344CB8AC3E}">
        <p14:creationId xmlns:p14="http://schemas.microsoft.com/office/powerpoint/2010/main" val="17950721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- Alternating row styl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able Placeholder 12"/>
          <p:cNvSpPr>
            <a:spLocks noGrp="1"/>
          </p:cNvSpPr>
          <p:nvPr>
            <p:ph type="tbl" sz="quarter" idx="15"/>
          </p:nvPr>
        </p:nvSpPr>
        <p:spPr>
          <a:xfrm>
            <a:off x="822618" y="3881280"/>
            <a:ext cx="16631228" cy="2137152"/>
          </a:xfrm>
          <a:prstGeom prst="rect">
            <a:avLst/>
          </a:prstGeom>
        </p:spPr>
        <p:txBody>
          <a:bodyPr lIns="80678" tIns="40339" rIns="80678" bIns="40339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20958" y="8916777"/>
            <a:ext cx="16670896" cy="332432"/>
          </a:xfrm>
          <a:prstGeom prst="rect">
            <a:avLst/>
          </a:prstGeom>
        </p:spPr>
        <p:txBody>
          <a:bodyPr wrap="square" lIns="80678" tIns="40339" rIns="80678" bIns="40339">
            <a:spAutoFit/>
          </a:bodyPr>
          <a:lstStyle>
            <a:lvl1pPr marL="0" indent="0">
              <a:lnSpc>
                <a:spcPts val="2181"/>
              </a:lnSpc>
              <a:spcBef>
                <a:spcPts val="0"/>
              </a:spcBef>
              <a:buNone/>
              <a:defRPr sz="1350" spc="0" baseline="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820830" y="3009889"/>
            <a:ext cx="16654088" cy="737479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>
              <a:lnSpc>
                <a:spcPct val="110000"/>
              </a:lnSpc>
              <a:buNone/>
              <a:defRPr sz="4201" b="1" spc="-14" baseline="0">
                <a:solidFill>
                  <a:srgbClr val="0B2F4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633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◦ Resources and Links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837766" y="3200895"/>
            <a:ext cx="16682756" cy="619114"/>
          </a:xfrm>
          <a:prstGeom prst="rect">
            <a:avLst/>
          </a:prstGeom>
        </p:spPr>
        <p:txBody>
          <a:bodyPr wrap="square" lIns="80678" tIns="40339" rIns="80678" bIns="40339">
            <a:spAutoFit/>
          </a:bodyPr>
          <a:lstStyle>
            <a:lvl1pPr marL="233817" indent="-233817" rtl="0">
              <a:lnSpc>
                <a:spcPct val="130000"/>
              </a:lnSpc>
              <a:spcBef>
                <a:spcPts val="1637"/>
              </a:spcBef>
              <a:buClr>
                <a:srgbClr val="F15B55"/>
              </a:buClr>
              <a:buFont typeface="Wingdings" panose="05000000000000000000" pitchFamily="2" charset="2"/>
              <a:buChar char="ä"/>
              <a:defRPr sz="3000" i="0" u="none" spc="0" baseline="0">
                <a:solidFill>
                  <a:srgbClr val="083050"/>
                </a:solidFill>
                <a:uFill>
                  <a:solidFill>
                    <a:srgbClr val="F15B55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55506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Slide - 1 column imag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305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49905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ized English Abou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080712" y="1943400"/>
            <a:ext cx="12573196" cy="9696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301" b="1">
                <a:solidFill>
                  <a:srgbClr val="083050"/>
                </a:solidFill>
                <a:latin typeface="Arial"/>
                <a:cs typeface="Arial"/>
              </a:rPr>
              <a:t>About RAP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080712" y="3061949"/>
            <a:ext cx="13242924" cy="1632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3300">
                <a:solidFill>
                  <a:srgbClr val="F15A4E"/>
                </a:solidFill>
                <a:latin typeface="Arial"/>
                <a:cs typeface="Arial"/>
              </a:rPr>
              <a:t>The Regulatory Assistance Project (RAP)</a:t>
            </a:r>
            <a:r>
              <a:rPr lang="en-US" sz="3300" baseline="30000">
                <a:solidFill>
                  <a:srgbClr val="F15A4E"/>
                </a:solidFill>
                <a:latin typeface="Arial"/>
                <a:cs typeface="Arial"/>
              </a:rPr>
              <a:t>®</a:t>
            </a:r>
            <a:r>
              <a:rPr lang="en-US" sz="3300">
                <a:solidFill>
                  <a:srgbClr val="F15A4E"/>
                </a:solidFill>
                <a:latin typeface="Arial"/>
                <a:cs typeface="Arial"/>
              </a:rPr>
              <a:t> is an</a:t>
            </a:r>
            <a:r>
              <a:rPr lang="en-US" sz="3300" baseline="0">
                <a:solidFill>
                  <a:srgbClr val="F15A4E"/>
                </a:solidFill>
                <a:latin typeface="Arial"/>
                <a:cs typeface="Arial"/>
              </a:rPr>
              <a:t> </a:t>
            </a:r>
            <a:r>
              <a:rPr lang="en-US" sz="3300">
                <a:solidFill>
                  <a:srgbClr val="F15A4E"/>
                </a:solidFill>
                <a:latin typeface="Arial"/>
                <a:cs typeface="Arial"/>
              </a:rPr>
              <a:t>independent, non-partisan, non-governmental</a:t>
            </a:r>
            <a:r>
              <a:rPr lang="en-US" sz="3300" baseline="0">
                <a:solidFill>
                  <a:srgbClr val="F15A4E"/>
                </a:solidFill>
                <a:latin typeface="Arial"/>
                <a:cs typeface="Arial"/>
              </a:rPr>
              <a:t> </a:t>
            </a:r>
            <a:r>
              <a:rPr lang="en-US" sz="3300">
                <a:solidFill>
                  <a:srgbClr val="F15A4E"/>
                </a:solidFill>
                <a:latin typeface="Arial"/>
                <a:cs typeface="Arial"/>
              </a:rPr>
              <a:t>organization dedicated to accelerating the transition</a:t>
            </a:r>
            <a:r>
              <a:rPr lang="en-US" sz="3300" baseline="0">
                <a:solidFill>
                  <a:srgbClr val="F15A4E"/>
                </a:solidFill>
                <a:latin typeface="Arial"/>
                <a:cs typeface="Arial"/>
              </a:rPr>
              <a:t> </a:t>
            </a:r>
            <a:r>
              <a:rPr lang="en-US" sz="3300">
                <a:solidFill>
                  <a:srgbClr val="F15A4E"/>
                </a:solidFill>
                <a:latin typeface="Arial"/>
                <a:cs typeface="Arial"/>
              </a:rPr>
              <a:t>to a clean, reliable, and efficient energy future.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2080712" y="5858375"/>
            <a:ext cx="13242924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0" indent="0">
              <a:buNone/>
            </a:pPr>
            <a:r>
              <a:rPr lang="en-US" sz="3300">
                <a:solidFill>
                  <a:srgbClr val="083050"/>
                </a:solidFill>
                <a:latin typeface="Arial"/>
                <a:cs typeface="Arial"/>
              </a:rPr>
              <a:t>Learn more about our work at </a:t>
            </a:r>
            <a:r>
              <a:rPr lang="en-US" sz="3300" u="heavy">
                <a:solidFill>
                  <a:srgbClr val="083050"/>
                </a:solidFill>
                <a:uFill>
                  <a:solidFill>
                    <a:srgbClr val="F15B55"/>
                  </a:solidFill>
                </a:uFill>
                <a:latin typeface="Arial"/>
                <a:cs typeface="Arial"/>
                <a:hlinkClick r:id="rId2"/>
              </a:rPr>
              <a:t>raponline.org</a:t>
            </a:r>
            <a:endParaRPr lang="en-US" sz="3300" u="heavy">
              <a:solidFill>
                <a:srgbClr val="083050"/>
              </a:solidFill>
              <a:uFill>
                <a:solidFill>
                  <a:srgbClr val="F15B55"/>
                </a:solidFill>
              </a:uFill>
              <a:latin typeface="Arial"/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A4A5D5-C69B-6EE3-FE34-EA9E0ABC61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7"/>
            <a:ext cx="2760511" cy="1269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5453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ized_German Abou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" y="11"/>
            <a:ext cx="3680114" cy="1269152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2080712" y="1943400"/>
            <a:ext cx="12573196" cy="9696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301" b="1">
                <a:solidFill>
                  <a:srgbClr val="083050"/>
                </a:solidFill>
                <a:latin typeface="Arial"/>
                <a:cs typeface="Arial"/>
              </a:rPr>
              <a:t>About RAP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080711" y="3061949"/>
            <a:ext cx="13914254" cy="1632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e-DE" sz="3300">
                <a:solidFill>
                  <a:srgbClr val="F15A4E"/>
                </a:solidFill>
                <a:latin typeface="Arial"/>
                <a:cs typeface="Arial"/>
              </a:rPr>
              <a:t>Als eine unabhängige, globale Organisation unterstützt das Regulatory Assistance Project (RAP)</a:t>
            </a:r>
            <a:r>
              <a:rPr lang="de-DE" sz="3300" baseline="30000">
                <a:solidFill>
                  <a:srgbClr val="F15A4E"/>
                </a:solidFill>
                <a:latin typeface="Arial"/>
                <a:cs typeface="Arial"/>
              </a:rPr>
              <a:t>®</a:t>
            </a:r>
            <a:r>
              <a:rPr lang="de-DE" sz="3300">
                <a:solidFill>
                  <a:srgbClr val="F15A4E"/>
                </a:solidFill>
                <a:latin typeface="Arial"/>
                <a:cs typeface="Arial"/>
              </a:rPr>
              <a:t> Regierungen und Behörden bei der Dekarbonisierung des Stromsystems.</a:t>
            </a:r>
            <a:endParaRPr lang="en-US" sz="3300">
              <a:solidFill>
                <a:srgbClr val="F15A4E"/>
              </a:solidFill>
              <a:latin typeface="Arial"/>
              <a:cs typeface="Arial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2080712" y="5858375"/>
            <a:ext cx="1416747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0" indent="0">
              <a:buNone/>
            </a:pPr>
            <a:r>
              <a:rPr lang="en-US" sz="3300" err="1">
                <a:solidFill>
                  <a:srgbClr val="083050"/>
                </a:solidFill>
                <a:latin typeface="Arial"/>
                <a:cs typeface="Arial"/>
              </a:rPr>
              <a:t>Erfahren</a:t>
            </a:r>
            <a:r>
              <a:rPr lang="en-US" sz="3300">
                <a:solidFill>
                  <a:srgbClr val="083050"/>
                </a:solidFill>
                <a:latin typeface="Arial"/>
                <a:cs typeface="Arial"/>
              </a:rPr>
              <a:t> Sie N</a:t>
            </a:r>
            <a:r>
              <a:rPr lang="de-DE" sz="3300">
                <a:solidFill>
                  <a:srgbClr val="083050"/>
                </a:solidFill>
                <a:latin typeface="Arial"/>
                <a:cs typeface="Arial"/>
              </a:rPr>
              <a:t>äheres auf unserer</a:t>
            </a:r>
            <a:r>
              <a:rPr lang="de-DE" sz="3300" baseline="0">
                <a:solidFill>
                  <a:srgbClr val="083050"/>
                </a:solidFill>
                <a:latin typeface="Arial"/>
                <a:cs typeface="Arial"/>
              </a:rPr>
              <a:t> Website</a:t>
            </a:r>
            <a:r>
              <a:rPr lang="en-US" sz="3300" baseline="0">
                <a:solidFill>
                  <a:srgbClr val="083050"/>
                </a:solidFill>
                <a:latin typeface="Arial"/>
                <a:cs typeface="Arial"/>
              </a:rPr>
              <a:t>:</a:t>
            </a:r>
            <a:r>
              <a:rPr lang="de-DE" sz="3300">
                <a:solidFill>
                  <a:srgbClr val="083050"/>
                </a:solidFill>
                <a:latin typeface="Arial"/>
                <a:cs typeface="Arial"/>
              </a:rPr>
              <a:t> </a:t>
            </a:r>
            <a:r>
              <a:rPr lang="en-US" sz="3300" u="heavy">
                <a:solidFill>
                  <a:srgbClr val="083050"/>
                </a:solidFill>
                <a:uFill>
                  <a:solidFill>
                    <a:srgbClr val="F15B55"/>
                  </a:solidFill>
                </a:uFill>
                <a:latin typeface="Arial"/>
                <a:cs typeface="Arial"/>
                <a:hlinkClick r:id="rId3"/>
              </a:rPr>
              <a:t>raponline.org</a:t>
            </a:r>
            <a:endParaRPr lang="en-US" sz="3300" u="heavy">
              <a:solidFill>
                <a:srgbClr val="083050"/>
              </a:solidFill>
              <a:uFill>
                <a:solidFill>
                  <a:srgbClr val="F15B55"/>
                </a:solidFill>
              </a:u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8794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ized Chinese About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2059733" y="3099863"/>
            <a:ext cx="14247066" cy="27569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TW" altLang="en-US" sz="3300" b="0" i="0">
                <a:solidFill>
                  <a:srgbClr val="F15A4E"/>
                </a:solidFill>
                <a:effectLst/>
                <a:latin typeface="Heiti SC Medium"/>
                <a:ea typeface="Heiti SC Medium"/>
                <a:cs typeface="Heiti SC Medium"/>
              </a:rPr>
              <a:t>睿博能源智库</a:t>
            </a:r>
            <a:r>
              <a:rPr lang="en-US" altLang="zh-TW" sz="3300" b="0" i="0">
                <a:solidFill>
                  <a:srgbClr val="F15A4E"/>
                </a:solidFill>
                <a:effectLst/>
                <a:latin typeface="Heiti SC Medium"/>
                <a:ea typeface="Heiti SC Medium"/>
                <a:cs typeface="Heiti SC Medium"/>
              </a:rPr>
              <a:t>(The Regulatory Assistance Project (RAP)</a:t>
            </a:r>
            <a:r>
              <a:rPr lang="en-US" altLang="zh-TW" sz="3300" b="0" i="0" baseline="30000">
                <a:solidFill>
                  <a:srgbClr val="F15A4E"/>
                </a:solidFill>
                <a:effectLst/>
                <a:latin typeface="Heiti SC Medium"/>
                <a:ea typeface="Heiti SC Medium"/>
                <a:cs typeface="Heiti SC Medium"/>
              </a:rPr>
              <a:t>®</a:t>
            </a:r>
            <a:r>
              <a:rPr lang="en-US" altLang="zh-TW" sz="3300" b="0" i="0">
                <a:solidFill>
                  <a:srgbClr val="F15A4E"/>
                </a:solidFill>
                <a:effectLst/>
                <a:latin typeface="Heiti SC Medium"/>
                <a:ea typeface="Heiti SC Medium"/>
                <a:cs typeface="Heiti SC Medium"/>
              </a:rPr>
              <a:t>)</a:t>
            </a:r>
            <a:r>
              <a:rPr lang="zh-TW" altLang="en-US" sz="3300" b="0" i="0">
                <a:solidFill>
                  <a:srgbClr val="F15A4E"/>
                </a:solidFill>
                <a:effectLst/>
                <a:latin typeface="Heiti SC Medium"/>
                <a:ea typeface="Heiti SC Medium"/>
                <a:cs typeface="Heiti SC Medium"/>
              </a:rPr>
              <a:t>是 一个全球性专家咨询机构， 长期致力于为欧洲、美国、中国、 印度等国的电力行业改革所面临的挑战提供解决方案。我们在 广泛的能源领域从事专业的技术和经济分析，特别是在电力行 业规划和市场设计、能效和电力需求侧管理、空气质量管理、 可再生能源并网、排放交易等方面有着资深的国际经验。 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2080712" y="1943400"/>
            <a:ext cx="12573196" cy="9696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301" b="1">
                <a:solidFill>
                  <a:srgbClr val="083050"/>
                </a:solidFill>
                <a:latin typeface="Arial"/>
                <a:cs typeface="Arial"/>
              </a:rPr>
              <a:t>About RAP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2080712" y="7151373"/>
            <a:ext cx="13242924" cy="530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3485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2700" b="0" i="0" kern="1200">
                <a:solidFill>
                  <a:srgbClr val="083050"/>
                </a:solidFill>
                <a:effectLst/>
                <a:latin typeface="Heiti SC Medium"/>
                <a:ea typeface="Heiti SC Medium"/>
                <a:cs typeface="Heiti SC Medium"/>
              </a:rPr>
              <a:t>欲了解更多我们的工作 </a:t>
            </a:r>
            <a:r>
              <a:rPr lang="en-US" sz="3300" b="0" i="0" u="sng">
                <a:solidFill>
                  <a:srgbClr val="083050"/>
                </a:solidFill>
                <a:uFill>
                  <a:solidFill>
                    <a:srgbClr val="F15B55"/>
                  </a:solidFill>
                </a:uFill>
                <a:latin typeface="Heiti SC Medium"/>
                <a:ea typeface="Heiti SC Medium"/>
                <a:cs typeface="Heiti SC Medium"/>
              </a:rPr>
              <a:t>raponline.org/china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317" y="-9477"/>
            <a:ext cx="7707894" cy="1278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944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6">
            <a:extLst>
              <a:ext uri="{FF2B5EF4-FFF2-40B4-BE49-F238E27FC236}">
                <a16:creationId xmlns:a16="http://schemas.microsoft.com/office/drawing/2014/main" id="{74BA57E1-F8D4-4C58-8945-EC690C24B93A}"/>
              </a:ext>
            </a:extLst>
          </p:cNvPr>
          <p:cNvSpPr/>
          <p:nvPr userDrawn="1"/>
        </p:nvSpPr>
        <p:spPr>
          <a:xfrm>
            <a:off x="0" y="8208536"/>
            <a:ext cx="18288000" cy="69986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9000">
                <a:srgbClr val="FFFF00"/>
              </a:gs>
              <a:gs pos="97000">
                <a:srgbClr val="178DA9"/>
              </a:gs>
              <a:gs pos="79000">
                <a:schemeClr val="accent6">
                  <a:lumMod val="60000"/>
                  <a:lumOff val="40000"/>
                </a:schemeClr>
              </a:gs>
              <a:gs pos="60000">
                <a:srgbClr val="FF0000"/>
              </a:gs>
              <a:gs pos="40000">
                <a:srgbClr val="FFC0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EDE179-019D-468B-88E6-BD77235973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86000" y="1683804"/>
            <a:ext cx="13716000" cy="3581953"/>
          </a:xfrm>
        </p:spPr>
        <p:txBody>
          <a:bodyPr anchor="b">
            <a:normAutofit/>
          </a:bodyPr>
          <a:lstStyle>
            <a:lvl1pPr algn="ctr">
              <a:defRPr sz="5400">
                <a:latin typeface="Courier New" panose="02070309020205020404" pitchFamily="49" charset="0"/>
                <a:cs typeface="Courier New" panose="02070309020205020404" pitchFamily="49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CA75E4-8C67-4389-838F-DF30507FD0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86000" y="5403891"/>
            <a:ext cx="13716000" cy="2484026"/>
          </a:xfrm>
        </p:spPr>
        <p:txBody>
          <a:bodyPr/>
          <a:lstStyle>
            <a:lvl1pPr marL="0" indent="0" algn="ctr">
              <a:buNone/>
              <a:defRPr sz="3000">
                <a:latin typeface="Courier New" panose="02070309020205020404" pitchFamily="49" charset="0"/>
                <a:cs typeface="Courier New" panose="02070309020205020404" pitchFamily="49" charset="0"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Rectángulo 5">
            <a:extLst>
              <a:ext uri="{FF2B5EF4-FFF2-40B4-BE49-F238E27FC236}">
                <a16:creationId xmlns:a16="http://schemas.microsoft.com/office/drawing/2014/main" id="{062856E9-5B6A-4595-9C7D-A6806A183D05}"/>
              </a:ext>
            </a:extLst>
          </p:cNvPr>
          <p:cNvSpPr/>
          <p:nvPr userDrawn="1"/>
        </p:nvSpPr>
        <p:spPr>
          <a:xfrm flipV="1">
            <a:off x="1" y="2297066"/>
            <a:ext cx="18287999" cy="69986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9000">
                <a:srgbClr val="FFFF00"/>
              </a:gs>
              <a:gs pos="97000">
                <a:srgbClr val="178DA9"/>
              </a:gs>
              <a:gs pos="79000">
                <a:schemeClr val="accent6">
                  <a:lumMod val="60000"/>
                  <a:lumOff val="40000"/>
                </a:schemeClr>
              </a:gs>
              <a:gs pos="60000">
                <a:srgbClr val="FF0000"/>
              </a:gs>
              <a:gs pos="40000">
                <a:srgbClr val="FFC0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700"/>
          </a:p>
        </p:txBody>
      </p:sp>
      <p:pic>
        <p:nvPicPr>
          <p:cNvPr id="10" name="Imagen 10">
            <a:extLst>
              <a:ext uri="{FF2B5EF4-FFF2-40B4-BE49-F238E27FC236}">
                <a16:creationId xmlns:a16="http://schemas.microsoft.com/office/drawing/2014/main" id="{B945F2CE-FDC3-4545-8D1F-02B1C3FF6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14024" y="1712399"/>
            <a:ext cx="2286198" cy="1271322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58DF984-568A-4859-8E53-B3C004BC98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0" y="8897724"/>
            <a:ext cx="13716000" cy="664472"/>
          </a:xfrm>
        </p:spPr>
        <p:txBody>
          <a:bodyPr>
            <a:normAutofit/>
          </a:bodyPr>
          <a:lstStyle>
            <a:lvl1pPr marL="0" indent="0" algn="ctr">
              <a:buNone/>
              <a:defRPr sz="3000" b="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defRPr>
            </a:lvl1pPr>
          </a:lstStyle>
          <a:p>
            <a:pPr lvl="0"/>
            <a:r>
              <a:rPr lang="cs-CZ" err="1"/>
              <a:t>Additional</a:t>
            </a:r>
            <a:r>
              <a:rPr lang="cs-CZ"/>
              <a:t> </a:t>
            </a:r>
            <a:r>
              <a:rPr lang="cs-CZ" err="1"/>
              <a:t>information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8280C45-B632-423D-AFD8-06E1E1EB39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37110" y="7990630"/>
            <a:ext cx="3164891" cy="516489"/>
          </a:xfrm>
          <a:solidFill>
            <a:srgbClr val="FFFFFF"/>
          </a:solidFill>
        </p:spPr>
        <p:txBody>
          <a:bodyPr>
            <a:noAutofit/>
          </a:bodyPr>
          <a:lstStyle>
            <a:lvl1pPr marL="0" marR="0" indent="0" algn="ctr" defTabSz="1371600" rtl="0" eaLnBrk="1" fontAlgn="auto" latinLnBrk="0" hangingPunct="1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000">
                <a:latin typeface="+mj-lt"/>
              </a:defRPr>
            </a:lvl1pPr>
          </a:lstStyle>
          <a:p>
            <a:pPr marL="342900" marR="0" lvl="0" indent="-342900" algn="l" defTabSz="1371600" rtl="0" eaLnBrk="1" fontAlgn="auto" latinLnBrk="0" hangingPunct="1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/>
              <a:t>#DD/MM/YYY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89988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3">
            <a:extLst>
              <a:ext uri="{FF2B5EF4-FFF2-40B4-BE49-F238E27FC236}">
                <a16:creationId xmlns:a16="http://schemas.microsoft.com/office/drawing/2014/main" id="{B6497509-BA50-48D9-8C03-5EAA8C6BFA58}"/>
              </a:ext>
            </a:extLst>
          </p:cNvPr>
          <p:cNvSpPr/>
          <p:nvPr userDrawn="1"/>
        </p:nvSpPr>
        <p:spPr>
          <a:xfrm flipV="1">
            <a:off x="1" y="535679"/>
            <a:ext cx="18287999" cy="68589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9000">
                <a:srgbClr val="FFFF00"/>
              </a:gs>
              <a:gs pos="97000">
                <a:srgbClr val="178DA9"/>
              </a:gs>
              <a:gs pos="79000">
                <a:schemeClr val="accent6">
                  <a:lumMod val="60000"/>
                  <a:lumOff val="40000"/>
                </a:schemeClr>
              </a:gs>
              <a:gs pos="60000">
                <a:srgbClr val="FF0000"/>
              </a:gs>
              <a:gs pos="40000">
                <a:srgbClr val="FFC0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7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1CFA6-BBFE-4539-AFE9-36277AFA05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7300" y="1657607"/>
            <a:ext cx="15773400" cy="76092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Imagen 1">
            <a:extLst>
              <a:ext uri="{FF2B5EF4-FFF2-40B4-BE49-F238E27FC236}">
                <a16:creationId xmlns:a16="http://schemas.microsoft.com/office/drawing/2014/main" id="{5129B5CE-3AEF-4CB8-AD93-43FD000D6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31442" y="64127"/>
            <a:ext cx="2286198" cy="1271322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595810D0-4E7D-4A2B-A57A-5045516687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71051" y="141286"/>
            <a:ext cx="3959649" cy="989652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r">
              <a:buNone/>
              <a:defRPr sz="5400">
                <a:latin typeface="Courier New" panose="02070309020205020404" pitchFamily="49" charset="0"/>
                <a:cs typeface="Courier New" panose="02070309020205020404" pitchFamily="49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22994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3">
            <a:extLst>
              <a:ext uri="{FF2B5EF4-FFF2-40B4-BE49-F238E27FC236}">
                <a16:creationId xmlns:a16="http://schemas.microsoft.com/office/drawing/2014/main" id="{929665AD-842B-47E8-BAE2-8127D62551A3}"/>
              </a:ext>
            </a:extLst>
          </p:cNvPr>
          <p:cNvSpPr/>
          <p:nvPr userDrawn="1"/>
        </p:nvSpPr>
        <p:spPr>
          <a:xfrm flipV="1">
            <a:off x="1" y="535679"/>
            <a:ext cx="18287999" cy="68589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9000">
                <a:srgbClr val="FFFF00"/>
              </a:gs>
              <a:gs pos="97000">
                <a:srgbClr val="178DA9"/>
              </a:gs>
              <a:gs pos="79000">
                <a:schemeClr val="accent6">
                  <a:lumMod val="60000"/>
                  <a:lumOff val="40000"/>
                </a:schemeClr>
              </a:gs>
              <a:gs pos="60000">
                <a:srgbClr val="FF0000"/>
              </a:gs>
              <a:gs pos="40000">
                <a:srgbClr val="FFC0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7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34BB58-73BA-4B60-BEEA-AB6BDE4AF0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57300" y="1589013"/>
            <a:ext cx="7772400" cy="7677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ABE545-9945-47E5-8C43-B1B689175D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58300" y="1589013"/>
            <a:ext cx="7772400" cy="7677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5B424E-4F62-42BC-A96B-BC67BFF52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3935D-D759-4C32-848F-3E1BB8781AE2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Imagen 1">
            <a:extLst>
              <a:ext uri="{FF2B5EF4-FFF2-40B4-BE49-F238E27FC236}">
                <a16:creationId xmlns:a16="http://schemas.microsoft.com/office/drawing/2014/main" id="{D693A705-16EF-4EB5-A822-69F1911C87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31442" y="64127"/>
            <a:ext cx="2286198" cy="1271322"/>
          </a:xfrm>
          <a:prstGeom prst="rect">
            <a:avLst/>
          </a:prstGeom>
        </p:spPr>
      </p:pic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8386E57D-C040-4E8C-905B-877DBE5EC2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71051" y="141286"/>
            <a:ext cx="3959649" cy="989652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r">
              <a:buNone/>
              <a:defRPr sz="5400">
                <a:latin typeface="Courier New" panose="02070309020205020404" pitchFamily="49" charset="0"/>
                <a:cs typeface="Courier New" panose="02070309020205020404" pitchFamily="49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59846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D3E86E-FAA2-452F-BEB4-274E6831D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3935D-D759-4C32-848F-3E1BB8781AE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ángulo 3">
            <a:extLst>
              <a:ext uri="{FF2B5EF4-FFF2-40B4-BE49-F238E27FC236}">
                <a16:creationId xmlns:a16="http://schemas.microsoft.com/office/drawing/2014/main" id="{C2878639-5B57-4840-BFAC-CA81AAC4BBCD}"/>
              </a:ext>
            </a:extLst>
          </p:cNvPr>
          <p:cNvSpPr/>
          <p:nvPr userDrawn="1"/>
        </p:nvSpPr>
        <p:spPr>
          <a:xfrm flipV="1">
            <a:off x="1" y="535679"/>
            <a:ext cx="18287999" cy="68589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9000">
                <a:srgbClr val="FFFF00"/>
              </a:gs>
              <a:gs pos="97000">
                <a:srgbClr val="178DA9"/>
              </a:gs>
              <a:gs pos="79000">
                <a:schemeClr val="accent6">
                  <a:lumMod val="60000"/>
                  <a:lumOff val="40000"/>
                </a:schemeClr>
              </a:gs>
              <a:gs pos="60000">
                <a:srgbClr val="FF0000"/>
              </a:gs>
              <a:gs pos="40000">
                <a:srgbClr val="FFC0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700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BF69EA7-6E3A-41A0-BEA5-4AD4D4079B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71051" y="141286"/>
            <a:ext cx="3959649" cy="989652"/>
          </a:xfrm>
          <a:solidFill>
            <a:schemeClr val="bg1"/>
          </a:solidFill>
        </p:spPr>
        <p:txBody>
          <a:bodyPr>
            <a:noAutofit/>
          </a:bodyPr>
          <a:lstStyle>
            <a:lvl1pPr marL="0" indent="0" algn="r">
              <a:buNone/>
              <a:defRPr sz="5400">
                <a:latin typeface="Courier New" panose="02070309020205020404" pitchFamily="49" charset="0"/>
                <a:cs typeface="Courier New" panose="02070309020205020404" pitchFamily="49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Imagen 1">
            <a:extLst>
              <a:ext uri="{FF2B5EF4-FFF2-40B4-BE49-F238E27FC236}">
                <a16:creationId xmlns:a16="http://schemas.microsoft.com/office/drawing/2014/main" id="{0A646D6B-2C4F-4BCD-8EC8-233987547F6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31442" y="64127"/>
            <a:ext cx="2286198" cy="127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5696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ssio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29A1F4E-1773-C23C-A77E-EF19B21E7C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1966"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54E14D16-0860-4B41-EE2D-9C17F3F646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702" y="1311965"/>
            <a:ext cx="11473840" cy="8118080"/>
          </a:xfrm>
        </p:spPr>
        <p:txBody>
          <a:bodyPr lIns="0" tIns="0">
            <a:noAutofit/>
          </a:bodyPr>
          <a:lstStyle>
            <a:lvl1pPr marL="98850" indent="0">
              <a:spcBef>
                <a:spcPts val="2040"/>
              </a:spcBef>
              <a:buClr>
                <a:srgbClr val="BCCEE7"/>
              </a:buClr>
              <a:buSzPct val="70000"/>
              <a:buFont typeface="Arial" panose="020B0604020202020204" pitchFamily="34" charset="0"/>
              <a:buNone/>
              <a:tabLst/>
              <a:defRPr sz="2148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0206" indent="-85216">
              <a:lnSpc>
                <a:spcPct val="100000"/>
              </a:lnSpc>
              <a:spcBef>
                <a:spcPts val="967"/>
              </a:spcBef>
              <a:spcAft>
                <a:spcPts val="859"/>
              </a:spcAft>
              <a:buClr>
                <a:srgbClr val="BCCEE7"/>
              </a:buClr>
              <a:buSzPct val="50000"/>
              <a:buFont typeface="Arial" panose="020B0604020202020204" pitchFamily="34" charset="0"/>
              <a:buChar char="•"/>
              <a:tabLst/>
              <a:defRPr sz="325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850" indent="0">
              <a:spcBef>
                <a:spcPts val="1611"/>
              </a:spcBef>
              <a:buClr>
                <a:srgbClr val="BCCEE7"/>
              </a:buClr>
              <a:buFont typeface="Arial" panose="020B0604020202020204" pitchFamily="34" charset="0"/>
              <a:buChar char="•"/>
              <a:tabLst/>
              <a:defRPr sz="1501" b="1" cap="all" spc="322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8113" indent="0">
              <a:lnSpc>
                <a:spcPct val="80000"/>
              </a:lnSpc>
              <a:buClr>
                <a:srgbClr val="BCCEE7"/>
              </a:buClr>
              <a:buSzPct val="50000"/>
              <a:buFont typeface="Arial" panose="020B0604020202020204" pitchFamily="34" charset="0"/>
              <a:buChar char="•"/>
              <a:tabLst/>
              <a:defRPr sz="1954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GB" noProof="0"/>
              <a:t> First level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pic>
        <p:nvPicPr>
          <p:cNvPr id="2" name="Image 8">
            <a:extLst>
              <a:ext uri="{FF2B5EF4-FFF2-40B4-BE49-F238E27FC236}">
                <a16:creationId xmlns:a16="http://schemas.microsoft.com/office/drawing/2014/main" id="{C787B0B9-89FE-442D-3BD8-D00A321049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89696"/>
          <a:stretch/>
        </p:blipFill>
        <p:spPr>
          <a:xfrm>
            <a:off x="-1" y="0"/>
            <a:ext cx="18290823" cy="1060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658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7">
            <a:extLst>
              <a:ext uri="{FF2B5EF4-FFF2-40B4-BE49-F238E27FC236}">
                <a16:creationId xmlns:a16="http://schemas.microsoft.com/office/drawing/2014/main" id="{F678F1EA-2587-4931-8128-7D9B8B5C7B55}"/>
              </a:ext>
            </a:extLst>
          </p:cNvPr>
          <p:cNvSpPr txBox="1"/>
          <p:nvPr userDrawn="1"/>
        </p:nvSpPr>
        <p:spPr>
          <a:xfrm>
            <a:off x="3932031" y="1013076"/>
            <a:ext cx="9181020" cy="8318209"/>
          </a:xfrm>
          <a:prstGeom prst="rect">
            <a:avLst/>
          </a:prstGeom>
          <a:noFill/>
        </p:spPr>
        <p:txBody>
          <a:bodyPr wrap="square" rtlCol="0">
            <a:prstTxWarp prst="textCircle">
              <a:avLst>
                <a:gd name="adj" fmla="val 11882"/>
              </a:avLst>
            </a:prstTxWarp>
            <a:spAutoFit/>
          </a:bodyPr>
          <a:lstStyle/>
          <a:p>
            <a:pPr algn="ctr"/>
            <a:r>
              <a:rPr lang="es-ES" sz="360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TACK</a:t>
            </a:r>
            <a:r>
              <a:rPr lang="es-ES" sz="36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THANK YOU</a:t>
            </a:r>
            <a:r>
              <a:rPr lang="es-ES" sz="360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ĎAKUJEM</a:t>
            </a:r>
            <a:r>
              <a:rPr lang="es-ES" sz="3600">
                <a:solidFill>
                  <a:srgbClr val="FF99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TÄNAN</a:t>
            </a:r>
            <a:r>
              <a:rPr lang="es-ES" sz="3600">
                <a:solidFill>
                  <a:srgbClr val="FFFF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TEID DZIĘKUJĘ</a:t>
            </a:r>
            <a:r>
              <a:rPr lang="es-ES" sz="36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GRACIAS</a:t>
            </a:r>
            <a:r>
              <a:rPr lang="es-ES" sz="360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MERCI</a:t>
            </a:r>
            <a:r>
              <a:rPr lang="es-ES" sz="360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MULȚUMESC</a:t>
            </a:r>
            <a:r>
              <a:rPr lang="es-ES" sz="360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az-Cyrl-AZ" sz="3600">
                <a:latin typeface="Courier New" panose="02070309020205020404" pitchFamily="49" charset="0"/>
                <a:cs typeface="Courier New" panose="02070309020205020404" pitchFamily="49" charset="0"/>
              </a:rPr>
              <a:t>БЛАГОДАРЯ ВИ</a:t>
            </a:r>
            <a:r>
              <a:rPr lang="es-ES" sz="3600">
                <a:solidFill>
                  <a:srgbClr val="FF99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HVALA</a:t>
            </a:r>
            <a:r>
              <a:rPr lang="es-ES" sz="360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GO RAIBH MAITH AGAT</a:t>
            </a:r>
            <a:r>
              <a:rPr lang="es-ES" sz="36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AČIŪ</a:t>
            </a:r>
            <a:r>
              <a:rPr lang="es-ES" sz="360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DĚKUJI VÁM</a:t>
            </a:r>
            <a:r>
              <a:rPr lang="es-ES" sz="360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TÄNAN TEID</a:t>
            </a:r>
            <a:r>
              <a:rPr lang="es-ES" sz="360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TAK</a:t>
            </a:r>
            <a:r>
              <a:rPr lang="es-ES" sz="3600">
                <a:solidFill>
                  <a:srgbClr val="00B0F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l-GR" sz="3600">
                <a:latin typeface="Courier New" panose="02070309020205020404" pitchFamily="49" charset="0"/>
                <a:cs typeface="Courier New" panose="02070309020205020404" pitchFamily="49" charset="0"/>
              </a:rPr>
              <a:t>ΕΥΧΑΡΙΣΤΩ</a:t>
            </a:r>
            <a:r>
              <a:rPr lang="es-ES" sz="3600">
                <a:solidFill>
                  <a:srgbClr val="92D05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DANKE</a:t>
            </a:r>
            <a:r>
              <a:rPr lang="es-ES" sz="36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PALDIES</a:t>
            </a:r>
            <a:r>
              <a:rPr lang="es-ES" sz="3600">
                <a:solidFill>
                  <a:srgbClr val="FF99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GRAZIE</a:t>
            </a:r>
            <a:r>
              <a:rPr lang="es-ES" sz="3600">
                <a:solidFill>
                  <a:srgbClr val="FFC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n-GB" sz="3600">
                <a:latin typeface="Courier New" panose="02070309020205020404" pitchFamily="49" charset="0"/>
                <a:cs typeface="Courier New" panose="02070309020205020404" pitchFamily="49" charset="0"/>
              </a:rPr>
              <a:t>KIITOS</a:t>
            </a:r>
            <a:r>
              <a:rPr lang="es-ES" sz="3600">
                <a:solidFill>
                  <a:srgbClr val="0070C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DANK JE</a:t>
            </a:r>
            <a:r>
              <a:rPr lang="es-ES" sz="360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OBRIGADO</a:t>
            </a:r>
            <a:r>
              <a:rPr lang="es-ES" sz="3600">
                <a:solidFill>
                  <a:srgbClr val="FF99FF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#</a:t>
            </a:r>
            <a:r>
              <a:rPr lang="es-ES" sz="3600">
                <a:latin typeface="Courier New" panose="02070309020205020404" pitchFamily="49" charset="0"/>
                <a:cs typeface="Courier New" panose="02070309020205020404" pitchFamily="49" charset="0"/>
              </a:rPr>
              <a:t>KÖSZÖNÖM</a:t>
            </a:r>
          </a:p>
        </p:txBody>
      </p:sp>
      <p:sp>
        <p:nvSpPr>
          <p:cNvPr id="7" name="Rectángulo 4">
            <a:extLst>
              <a:ext uri="{FF2B5EF4-FFF2-40B4-BE49-F238E27FC236}">
                <a16:creationId xmlns:a16="http://schemas.microsoft.com/office/drawing/2014/main" id="{3747C5EF-D810-4A2C-BDB3-003F32FD9947}"/>
              </a:ext>
            </a:extLst>
          </p:cNvPr>
          <p:cNvSpPr/>
          <p:nvPr userDrawn="1"/>
        </p:nvSpPr>
        <p:spPr>
          <a:xfrm>
            <a:off x="0" y="2448950"/>
            <a:ext cx="18288000" cy="68589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9000">
                <a:srgbClr val="FFFF00"/>
              </a:gs>
              <a:gs pos="97000">
                <a:srgbClr val="178DA9"/>
              </a:gs>
              <a:gs pos="79000">
                <a:schemeClr val="accent6">
                  <a:lumMod val="60000"/>
                  <a:lumOff val="40000"/>
                </a:schemeClr>
              </a:gs>
              <a:gs pos="60000">
                <a:srgbClr val="FF0000"/>
              </a:gs>
              <a:gs pos="40000">
                <a:srgbClr val="FFC0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700"/>
          </a:p>
        </p:txBody>
      </p:sp>
      <p:sp>
        <p:nvSpPr>
          <p:cNvPr id="8" name="Rectángulo 6">
            <a:extLst>
              <a:ext uri="{FF2B5EF4-FFF2-40B4-BE49-F238E27FC236}">
                <a16:creationId xmlns:a16="http://schemas.microsoft.com/office/drawing/2014/main" id="{78F02208-1545-49BF-B909-6F6A8D82A21C}"/>
              </a:ext>
            </a:extLst>
          </p:cNvPr>
          <p:cNvSpPr/>
          <p:nvPr userDrawn="1"/>
        </p:nvSpPr>
        <p:spPr>
          <a:xfrm>
            <a:off x="0" y="8290436"/>
            <a:ext cx="18288000" cy="68589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9000">
                <a:srgbClr val="FFFF00"/>
              </a:gs>
              <a:gs pos="97000">
                <a:srgbClr val="178DA9"/>
              </a:gs>
              <a:gs pos="79000">
                <a:schemeClr val="accent6">
                  <a:lumMod val="60000"/>
                  <a:lumOff val="40000"/>
                </a:schemeClr>
              </a:gs>
              <a:gs pos="60000">
                <a:srgbClr val="FF0000"/>
              </a:gs>
              <a:gs pos="40000">
                <a:srgbClr val="FFC00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700"/>
          </a:p>
        </p:txBody>
      </p:sp>
      <p:pic>
        <p:nvPicPr>
          <p:cNvPr id="9" name="Imagen 5">
            <a:extLst>
              <a:ext uri="{FF2B5EF4-FFF2-40B4-BE49-F238E27FC236}">
                <a16:creationId xmlns:a16="http://schemas.microsoft.com/office/drawing/2014/main" id="{160736CC-50E9-407B-BF63-8E1AD5661A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25166" y="4531944"/>
            <a:ext cx="2194751" cy="1280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3723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7A1C639-99B2-4A4E-A848-FCDF8B8CE19B}"/>
              </a:ext>
            </a:extLst>
          </p:cNvPr>
          <p:cNvSpPr/>
          <p:nvPr/>
        </p:nvSpPr>
        <p:spPr>
          <a:xfrm>
            <a:off x="0" y="0"/>
            <a:ext cx="18288000" cy="10288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694D6CEC-7C5A-3644-8542-9DB48BE16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D035378-5C01-FC45-A1F5-C4ADE23D92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4A4C6FB-EF59-2346-BFA1-FB3C5245B1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672E73E-3525-BB44-983C-F70D53BE1A08}"/>
              </a:ext>
            </a:extLst>
          </p:cNvPr>
          <p:cNvSpPr/>
          <p:nvPr userDrawn="1"/>
        </p:nvSpPr>
        <p:spPr>
          <a:xfrm>
            <a:off x="0" y="0"/>
            <a:ext cx="18288000" cy="10288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A045888-6C49-FA42-9E30-31F472686958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A3E8283-122A-EE4D-BF9E-A311305585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458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E58104-D31B-2A46-9D9A-EA9CD0F81CF7}"/>
              </a:ext>
            </a:extLst>
          </p:cNvPr>
          <p:cNvSpPr/>
          <p:nvPr/>
        </p:nvSpPr>
        <p:spPr>
          <a:xfrm>
            <a:off x="0" y="0"/>
            <a:ext cx="18288000" cy="102885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EE8584F-776F-CE43-B82A-08901CB04C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5928C1-AE23-4C47-B754-890FE727450B}"/>
              </a:ext>
            </a:extLst>
          </p:cNvPr>
          <p:cNvSpPr/>
          <p:nvPr userDrawn="1"/>
        </p:nvSpPr>
        <p:spPr>
          <a:xfrm>
            <a:off x="0" y="0"/>
            <a:ext cx="18288000" cy="10288588"/>
          </a:xfrm>
          <a:prstGeom prst="rect">
            <a:avLst/>
          </a:prstGeom>
          <a:solidFill>
            <a:srgbClr val="3678BD"/>
          </a:solidFill>
          <a:ln>
            <a:solidFill>
              <a:srgbClr val="3678B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38795F-832F-7A41-BFE2-2AA1C1E129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9C0C623-2D29-9141-8B28-8E51290D708C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07226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enew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49C593FC-B38D-F24A-AAA6-81EAFBB41B1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5245AF-6641-7A4E-B23C-A79A6745B2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4D4D13F-CFA2-0543-9CCE-43109CFF0D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EF1F50-700F-AD4F-8758-1949A3E3D040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3422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B95523F-D147-4043-8292-0F1CB1A98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32859F-D5F4-A040-A623-C48B68772D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002CDB1-8A22-DE41-8438-596048C938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56049DD-4F2F-B546-BAC1-DA9580223C20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68397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E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on renewable energy background imag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CD2130-0C59-A24E-87B6-47C3253CAE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E5E6D44-AD3D-734B-8CDF-7885FFE9E6C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DE95D42-62A6-3A49-9013-2E0E801F3882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6576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00" y="506"/>
            <a:ext cx="18288000" cy="102885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1B9A39-2722-B14F-B50F-862F6D6956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00" y="506"/>
            <a:ext cx="18288000" cy="102885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0989843-35E4-554E-857E-B8B4D858E4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6A3406-20DF-EC41-B915-E2FEFD2C7051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21544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l-SI"/>
              <a:t>Agenda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943D43-28BC-8C40-90F1-1912F94F2F9A}"/>
              </a:ext>
            </a:extLst>
          </p:cNvPr>
          <p:cNvSpPr/>
          <p:nvPr/>
        </p:nvSpPr>
        <p:spPr>
          <a:xfrm>
            <a:off x="0" y="9424452"/>
            <a:ext cx="18288000" cy="8641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E16D21-2873-7F4D-BC1C-4DCC7B7156B8}" type="slidenum">
              <a:rPr lang="en-SI" smtClean="0"/>
              <a:pPr/>
              <a:t>‹#›</a:t>
            </a:fld>
            <a:endParaRPr lang="en-S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26D3AD-FEF8-4340-934D-46D6144F23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68858" y="2140881"/>
            <a:ext cx="13101543" cy="6528015"/>
          </a:xfrm>
        </p:spPr>
        <p:txBody>
          <a:bodyPr/>
          <a:lstStyle>
            <a:lvl1pPr marL="514350" indent="-514350">
              <a:buClr>
                <a:srgbClr val="3678BD"/>
              </a:buClr>
              <a:buFont typeface="Wingdings" pitchFamily="2" charset="2"/>
              <a:buChar char="§"/>
              <a:defRPr b="1"/>
            </a:lvl1pPr>
            <a:lvl2pPr marL="685800" indent="0">
              <a:buNone/>
              <a:defRPr/>
            </a:lvl2pPr>
            <a:lvl3pPr marL="1371600" indent="0">
              <a:buNone/>
              <a:defRPr/>
            </a:lvl3pPr>
            <a:lvl4pPr marL="2057400" indent="0">
              <a:buNone/>
              <a:defRPr/>
            </a:lvl4pPr>
            <a:lvl5pPr marL="2743200" indent="0">
              <a:buNone/>
              <a:defRPr/>
            </a:lvl5pPr>
          </a:lstStyle>
          <a:p>
            <a:pPr lvl="0"/>
            <a:r>
              <a:rPr lang="en-GB"/>
              <a:t>Agenda item number one</a:t>
            </a:r>
          </a:p>
          <a:p>
            <a:pPr lvl="0"/>
            <a:r>
              <a:rPr lang="en-GB"/>
              <a:t>Agenda item number two</a:t>
            </a:r>
          </a:p>
          <a:p>
            <a:pPr lvl="0"/>
            <a:r>
              <a:rPr lang="en-GB"/>
              <a:t>Agenda item number thre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099C54-E6D9-104F-897A-7F57E35A63C7}"/>
              </a:ext>
            </a:extLst>
          </p:cNvPr>
          <p:cNvSpPr/>
          <p:nvPr userDrawn="1"/>
        </p:nvSpPr>
        <p:spPr>
          <a:xfrm>
            <a:off x="0" y="9424452"/>
            <a:ext cx="18288000" cy="864136"/>
          </a:xfrm>
          <a:prstGeom prst="rect">
            <a:avLst/>
          </a:prstGeom>
          <a:solidFill>
            <a:srgbClr val="3678BD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</p:spTree>
    <p:extLst>
      <p:ext uri="{BB962C8B-B14F-4D97-AF65-F5344CB8AC3E}">
        <p14:creationId xmlns:p14="http://schemas.microsoft.com/office/powerpoint/2010/main" val="4124563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4000" y="1600448"/>
            <a:ext cx="16200000" cy="4627895"/>
          </a:xfrm>
        </p:spPr>
        <p:txBody>
          <a:bodyPr anchor="ctr">
            <a:normAutofit/>
          </a:bodyPr>
          <a:lstStyle>
            <a:lvl1pPr algn="l">
              <a:defRPr sz="9000"/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42200" y="6616134"/>
            <a:ext cx="16200000" cy="2214906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8F4285B-4D3D-5548-9399-8AD26F3535EF}"/>
              </a:ext>
            </a:extLst>
          </p:cNvPr>
          <p:cNvCxnSpPr>
            <a:cxnSpLocks/>
          </p:cNvCxnSpPr>
          <p:nvPr userDrawn="1"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90375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/>
        </p:nvSpPr>
        <p:spPr>
          <a:xfrm>
            <a:off x="-14286" y="1586156"/>
            <a:ext cx="18302286" cy="78382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4000" y="1586156"/>
            <a:ext cx="16200000" cy="4642188"/>
          </a:xfrm>
        </p:spPr>
        <p:txBody>
          <a:bodyPr anchor="ctr">
            <a:normAutofit/>
          </a:bodyPr>
          <a:lstStyle>
            <a:lvl1pPr algn="l">
              <a:defRPr sz="9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44000" y="6616134"/>
            <a:ext cx="16200000" cy="2214906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2857FDB7-1C3A-C549-A253-EB50D4889C5F}"/>
              </a:ext>
            </a:extLst>
          </p:cNvPr>
          <p:cNvSpPr/>
          <p:nvPr userDrawn="1"/>
        </p:nvSpPr>
        <p:spPr>
          <a:xfrm>
            <a:off x="-14286" y="1586156"/>
            <a:ext cx="18302286" cy="7838296"/>
          </a:xfrm>
          <a:prstGeom prst="rect">
            <a:avLst/>
          </a:prstGeom>
          <a:solidFill>
            <a:srgbClr val="3678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D00337A-AC4A-D343-827D-292CAE51444C}"/>
              </a:ext>
            </a:extLst>
          </p:cNvPr>
          <p:cNvCxnSpPr>
            <a:cxnSpLocks/>
          </p:cNvCxnSpPr>
          <p:nvPr userDrawn="1"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6071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A6B8BA8B-E5FA-8BAD-4B74-21180F35DA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701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/>
        </p:nvSpPr>
        <p:spPr>
          <a:xfrm>
            <a:off x="0" y="1586156"/>
            <a:ext cx="18288000" cy="783829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4000" y="1586154"/>
            <a:ext cx="16200000" cy="4642188"/>
          </a:xfrm>
        </p:spPr>
        <p:txBody>
          <a:bodyPr anchor="ctr">
            <a:normAutofit/>
          </a:bodyPr>
          <a:lstStyle>
            <a:lvl1pPr algn="l">
              <a:defRPr sz="9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44000" y="6616134"/>
            <a:ext cx="16164000" cy="2214906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766E8835-A464-844A-9F9C-F68DF4DB45A8}"/>
              </a:ext>
            </a:extLst>
          </p:cNvPr>
          <p:cNvSpPr/>
          <p:nvPr userDrawn="1"/>
        </p:nvSpPr>
        <p:spPr>
          <a:xfrm>
            <a:off x="0" y="1586156"/>
            <a:ext cx="18288000" cy="7838296"/>
          </a:xfrm>
          <a:prstGeom prst="rect">
            <a:avLst/>
          </a:prstGeom>
          <a:solidFill>
            <a:srgbClr val="96CD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2149027-1E91-A641-9F78-DEE96BEF964E}"/>
              </a:ext>
            </a:extLst>
          </p:cNvPr>
          <p:cNvCxnSpPr>
            <a:cxnSpLocks/>
          </p:cNvCxnSpPr>
          <p:nvPr userDrawn="1"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03246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428625" indent="-428625">
              <a:lnSpc>
                <a:spcPct val="120000"/>
              </a:lnSpc>
              <a:buClr>
                <a:srgbClr val="3678BD"/>
              </a:buClr>
              <a:buFont typeface="Arial" panose="020B0604020202020204" pitchFamily="34" charset="0"/>
              <a:buChar char="•"/>
              <a:defRPr sz="2700"/>
            </a:lvl1pPr>
            <a:lvl2pPr marL="1114425" indent="-428625">
              <a:buFont typeface="Arial" panose="020B0604020202020204" pitchFamily="34" charset="0"/>
              <a:buChar char="•"/>
              <a:defRPr/>
            </a:lvl2pPr>
            <a:lvl3pPr marL="1371600" indent="0">
              <a:buNone/>
              <a:defRPr/>
            </a:lvl3pPr>
            <a:lvl4pPr marL="2057400" indent="0">
              <a:buNone/>
              <a:defRPr/>
            </a:lvl4pPr>
            <a:lvl5pPr marL="27432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37336568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7275" y="2067243"/>
            <a:ext cx="7772400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7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358313" y="2067244"/>
            <a:ext cx="7772400" cy="676379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700"/>
            </a:lvl1pPr>
            <a:lvl2pPr marL="685800" indent="0">
              <a:buFont typeface="Arial" panose="020B0604020202020204" pitchFamily="34" charset="0"/>
              <a:buNone/>
              <a:defRPr sz="3000"/>
            </a:lvl2pPr>
            <a:lvl3pPr marL="1371600" indent="0">
              <a:buFont typeface="Arial" panose="020B0604020202020204" pitchFamily="34" charset="0"/>
              <a:buNone/>
              <a:defRPr sz="3000"/>
            </a:lvl3pPr>
            <a:lvl4pPr marL="2057400" indent="0">
              <a:buFont typeface="Arial" panose="020B0604020202020204" pitchFamily="34" charset="0"/>
              <a:buNone/>
              <a:defRPr sz="3000"/>
            </a:lvl4pPr>
            <a:lvl5pPr marL="2743200" indent="0">
              <a:buFont typeface="Arial" panose="020B0604020202020204" pitchFamily="34" charset="0"/>
              <a:buNone/>
              <a:defRPr sz="3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39219486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7276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2498FB5-8216-1548-B0EF-EBF44C50486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286238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AA53F0A-0D78-F94E-BF9C-8ACC2184155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665119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30322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3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057276" y="2067243"/>
            <a:ext cx="4957763" cy="6749504"/>
          </a:xfrm>
        </p:spPr>
        <p:txBody>
          <a:bodyPr>
            <a:normAutofit/>
          </a:bodyPr>
          <a:lstStyle>
            <a:lvl1pPr marL="428625" indent="-428625">
              <a:lnSpc>
                <a:spcPct val="120000"/>
              </a:lnSpc>
              <a:buFont typeface="Arial" panose="020B0604020202020204" pitchFamily="34" charset="0"/>
              <a:buChar char="•"/>
              <a:defRPr sz="1950">
                <a:solidFill>
                  <a:schemeClr val="tx1"/>
                </a:solidFill>
              </a:defRPr>
            </a:lvl1pPr>
            <a:lvl2pPr marL="1114425" indent="-428625">
              <a:buFont typeface="Arial" panose="020B0604020202020204" pitchFamily="34" charset="0"/>
              <a:buChar char="•"/>
              <a:defRPr sz="195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ullet list 1</a:t>
            </a:r>
          </a:p>
          <a:p>
            <a:pPr lvl="0"/>
            <a:r>
              <a:rPr lang="en-GB"/>
              <a:t>Bullet list 2</a:t>
            </a:r>
          </a:p>
          <a:p>
            <a:pPr lvl="0"/>
            <a:r>
              <a:rPr lang="en-GB"/>
              <a:t>Bullet list 3</a:t>
            </a:r>
          </a:p>
          <a:p>
            <a:pPr lvl="1"/>
            <a:r>
              <a:rPr lang="en-GB"/>
              <a:t>Level 2 Bullet list 1</a:t>
            </a:r>
          </a:p>
          <a:p>
            <a:pPr lvl="1"/>
            <a:r>
              <a:rPr lang="en-GB"/>
              <a:t>Level 2 Bullet list 2</a:t>
            </a:r>
          </a:p>
          <a:p>
            <a:pPr lvl="1"/>
            <a:r>
              <a:rPr lang="en-GB"/>
              <a:t>Level 2 Bullet list 3</a:t>
            </a:r>
          </a:p>
          <a:p>
            <a:pPr lvl="0"/>
            <a:r>
              <a:rPr lang="en-GB"/>
              <a:t>Bullet list 4</a:t>
            </a:r>
          </a:p>
          <a:p>
            <a:pPr lvl="1"/>
            <a:r>
              <a:rPr lang="en-GB"/>
              <a:t>Level 2 Bullet list 4</a:t>
            </a:r>
          </a:p>
          <a:p>
            <a:pPr lvl="1"/>
            <a:r>
              <a:rPr lang="en-GB"/>
              <a:t>Level 2 Bullet list 5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AA53F0A-0D78-F94E-BF9C-8ACC2184155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665118" y="2067243"/>
            <a:ext cx="10542882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82188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/>
        </p:nvSpPr>
        <p:spPr>
          <a:xfrm>
            <a:off x="-14286" y="1"/>
            <a:ext cx="18302286" cy="8045104"/>
          </a:xfrm>
          <a:prstGeom prst="rect">
            <a:avLst/>
          </a:prstGeom>
          <a:solidFill>
            <a:srgbClr val="3678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4000" y="1586156"/>
            <a:ext cx="16200000" cy="4642188"/>
          </a:xfrm>
        </p:spPr>
        <p:txBody>
          <a:bodyPr anchor="ctr">
            <a:normAutofit/>
          </a:bodyPr>
          <a:lstStyle>
            <a:lvl1pPr algn="l">
              <a:defRPr sz="9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.</a:t>
            </a:r>
            <a:br>
              <a:rPr lang="en-GB"/>
            </a:br>
            <a:r>
              <a:rPr lang="en-GB"/>
              <a:t>Any questions?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F1D9E9-0C93-624B-9861-30471BCD6B8F}"/>
              </a:ext>
            </a:extLst>
          </p:cNvPr>
          <p:cNvSpPr/>
          <p:nvPr userDrawn="1"/>
        </p:nvSpPr>
        <p:spPr>
          <a:xfrm>
            <a:off x="-14286" y="7048088"/>
            <a:ext cx="18300600" cy="3240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A9C4BA8-0AF4-D648-AE98-33A2D2A473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048088"/>
            <a:ext cx="6617874" cy="32405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31CC2A2B-06F1-9C48-A629-7933E41A0098}"/>
              </a:ext>
            </a:extLst>
          </p:cNvPr>
          <p:cNvSpPr txBox="1">
            <a:spLocks/>
          </p:cNvSpPr>
          <p:nvPr/>
        </p:nvSpPr>
        <p:spPr>
          <a:xfrm>
            <a:off x="14165580" y="8702432"/>
            <a:ext cx="4120734" cy="78320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i="0" kern="1200" spc="-15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pPr>
              <a:lnSpc>
                <a:spcPts val="2700"/>
              </a:lnSpc>
            </a:pPr>
            <a:r>
              <a:rPr lang="en-GB" sz="195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@</a:t>
            </a:r>
            <a:r>
              <a:rPr lang="en-GB" sz="1950" spc="0" err="1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eu_acer</a:t>
            </a:r>
            <a:endParaRPr lang="en-GB" sz="1950" spc="0"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  <a:p>
            <a:pPr>
              <a:lnSpc>
                <a:spcPts val="2700"/>
              </a:lnSpc>
            </a:pPr>
            <a:r>
              <a:rPr lang="en-GB" sz="195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linkedin.com/company/EU-ACER/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12CBEB-0DAC-8F4B-9A0A-2BFD123ED617}"/>
              </a:ext>
            </a:extLst>
          </p:cNvPr>
          <p:cNvCxnSpPr/>
          <p:nvPr/>
        </p:nvCxnSpPr>
        <p:spPr>
          <a:xfrm>
            <a:off x="6617874" y="7830759"/>
            <a:ext cx="0" cy="165487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3F3945A4-27D8-8A4B-86E7-74C2FFBDE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82618" y="8896804"/>
            <a:ext cx="270000" cy="27004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8885DA4-0882-6640-9254-F39276BB7056}"/>
              </a:ext>
            </a:extLst>
          </p:cNvPr>
          <p:cNvGrpSpPr/>
          <p:nvPr/>
        </p:nvGrpSpPr>
        <p:grpSpPr>
          <a:xfrm>
            <a:off x="10192514" y="8702432"/>
            <a:ext cx="3852224" cy="783205"/>
            <a:chOff x="6801717" y="5800726"/>
            <a:chExt cx="2568149" cy="522056"/>
          </a:xfrm>
        </p:grpSpPr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001696BD-2EC4-194B-A7B8-62A129E01F63}"/>
                </a:ext>
              </a:extLst>
            </p:cNvPr>
            <p:cNvSpPr txBox="1">
              <a:spLocks/>
            </p:cNvSpPr>
            <p:nvPr/>
          </p:nvSpPr>
          <p:spPr>
            <a:xfrm>
              <a:off x="7062279" y="5800726"/>
              <a:ext cx="2307587" cy="522056"/>
            </a:xfrm>
            <a:prstGeom prst="rect">
              <a:avLst/>
            </a:prstGeom>
          </p:spPr>
          <p:txBody>
            <a:bodyPr vert="horz" lIns="0" tIns="0" rIns="0" bIns="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500" b="0" i="0" kern="1200" spc="-150">
                  <a:solidFill>
                    <a:schemeClr val="tx1"/>
                  </a:solidFill>
                  <a:latin typeface="Inter" panose="020B0502030000000004" pitchFamily="34" charset="0"/>
                  <a:ea typeface="Inter" panose="020B0502030000000004" pitchFamily="34" charset="0"/>
                  <a:cs typeface="Inter" panose="020B0502030000000004" pitchFamily="34" charset="0"/>
                </a:defRPr>
              </a:lvl1pPr>
            </a:lstStyle>
            <a:p>
              <a:pPr>
                <a:lnSpc>
                  <a:spcPts val="2700"/>
                </a:lnSpc>
              </a:pPr>
              <a:r>
                <a:rPr lang="en-GB" sz="1950" u="none" spc="0" err="1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info@acer.europa.eu</a:t>
              </a:r>
              <a:endParaRPr lang="en-GB" sz="1950" u="none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  <a:p>
              <a:pPr>
                <a:lnSpc>
                  <a:spcPts val="2700"/>
                </a:lnSpc>
              </a:pPr>
              <a:r>
                <a:rPr lang="en-GB" sz="1950" spc="0" err="1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acer.europa.eu</a:t>
              </a:r>
              <a:endParaRPr lang="en-SI" sz="195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6AEEF0F-3AEB-C345-8CAB-7C7FCCF315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08398" y="5930287"/>
              <a:ext cx="180000" cy="18000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CA2645C-0119-3745-BB46-C257A4A0C8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01717" y="6137846"/>
              <a:ext cx="180000" cy="180000"/>
            </a:xfrm>
            <a:prstGeom prst="rect">
              <a:avLst/>
            </a:prstGeom>
          </p:spPr>
        </p:pic>
      </p:grp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0A7DAC23-150B-AE4C-B495-CDC29B0541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89901" y="9208190"/>
            <a:ext cx="312108" cy="263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22226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7A1C639-99B2-4A4E-A848-FCDF8B8CE19B}"/>
              </a:ext>
            </a:extLst>
          </p:cNvPr>
          <p:cNvSpPr/>
          <p:nvPr userDrawn="1"/>
        </p:nvSpPr>
        <p:spPr>
          <a:xfrm>
            <a:off x="0" y="0"/>
            <a:ext cx="18288000" cy="10288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694D6CEC-7C5A-3644-8542-9DB48BE16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D035378-5C01-FC45-A1F5-C4ADE23D92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 i="0">
                <a:solidFill>
                  <a:schemeClr val="tx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4A4C6FB-EF59-2346-BFA1-FB3C5245B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4566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E58104-D31B-2A46-9D9A-EA9CD0F81CF7}"/>
              </a:ext>
            </a:extLst>
          </p:cNvPr>
          <p:cNvSpPr/>
          <p:nvPr userDrawn="1"/>
        </p:nvSpPr>
        <p:spPr>
          <a:xfrm>
            <a:off x="0" y="0"/>
            <a:ext cx="18288000" cy="10288588"/>
          </a:xfrm>
          <a:prstGeom prst="rect">
            <a:avLst/>
          </a:prstGeom>
          <a:solidFill>
            <a:srgbClr val="3678B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EE8584F-776F-CE43-B82A-08901CB04C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1464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Renew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>
            <a:extLst>
              <a:ext uri="{FF2B5EF4-FFF2-40B4-BE49-F238E27FC236}">
                <a16:creationId xmlns:a16="http://schemas.microsoft.com/office/drawing/2014/main" id="{49C593FC-B38D-F24A-AAA6-81EAFBB41B1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56731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B95523F-D147-4043-8292-0F1CB1A98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3479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ized Title English With Imag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815968" y="2755630"/>
            <a:ext cx="3106592" cy="1904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350" spc="29" baseline="0">
                <a:solidFill>
                  <a:srgbClr val="09304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0018" y="6891652"/>
            <a:ext cx="14284500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US" sz="3000" spc="41" baseline="0" dirty="0">
                <a:solidFill>
                  <a:srgbClr val="F15A4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342914" lvl="0" indent="-342914"/>
            <a:r>
              <a:rPr lang="en-US"/>
              <a:t>Click to edit conference/venue of present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15968" y="3427936"/>
            <a:ext cx="14284500" cy="1988651"/>
          </a:xfrm>
          <a:prstGeom prst="rect">
            <a:avLst/>
          </a:prstGeom>
        </p:spPr>
        <p:txBody>
          <a:bodyPr lIns="0"/>
          <a:lstStyle>
            <a:lvl1pPr>
              <a:defRPr lang="en-US" sz="6301" b="1" spc="-83" baseline="0" dirty="0">
                <a:solidFill>
                  <a:srgbClr val="083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135089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RE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1632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00" y="506"/>
            <a:ext cx="18288000" cy="102885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6383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l-SI"/>
              <a:t>Agenda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943D43-28BC-8C40-90F1-1912F94F2F9A}"/>
              </a:ext>
            </a:extLst>
          </p:cNvPr>
          <p:cNvSpPr/>
          <p:nvPr userDrawn="1"/>
        </p:nvSpPr>
        <p:spPr>
          <a:xfrm>
            <a:off x="0" y="9424452"/>
            <a:ext cx="18288000" cy="864136"/>
          </a:xfrm>
          <a:prstGeom prst="rect">
            <a:avLst/>
          </a:prstGeom>
          <a:solidFill>
            <a:srgbClr val="3678BD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E16D21-2873-7F4D-BC1C-4DCC7B7156B8}" type="slidenum">
              <a:rPr lang="en-SI" smtClean="0"/>
              <a:pPr/>
              <a:t>‹#›</a:t>
            </a:fld>
            <a:endParaRPr lang="en-S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26D3AD-FEF8-4340-934D-46D6144F23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68858" y="2267411"/>
            <a:ext cx="13101543" cy="6528015"/>
          </a:xfrm>
        </p:spPr>
        <p:txBody>
          <a:bodyPr/>
          <a:lstStyle>
            <a:lvl1pPr marL="514350" indent="-514350">
              <a:buClr>
                <a:srgbClr val="3678BD"/>
              </a:buClr>
              <a:buFont typeface="Wingdings" pitchFamily="2" charset="2"/>
              <a:buChar char="§"/>
              <a:defRPr b="1"/>
            </a:lvl1pPr>
            <a:lvl2pPr marL="685800" indent="0">
              <a:buNone/>
              <a:defRPr/>
            </a:lvl2pPr>
            <a:lvl3pPr marL="1371600" indent="0">
              <a:buNone/>
              <a:defRPr/>
            </a:lvl3pPr>
            <a:lvl4pPr marL="2057400" indent="0">
              <a:buNone/>
              <a:defRPr/>
            </a:lvl4pPr>
            <a:lvl5pPr marL="2743200" indent="0">
              <a:buNone/>
              <a:defRPr/>
            </a:lvl5pPr>
          </a:lstStyle>
          <a:p>
            <a:pPr lvl="0"/>
            <a:r>
              <a:rPr lang="en-GB"/>
              <a:t>Agenda item number one</a:t>
            </a:r>
          </a:p>
          <a:p>
            <a:pPr lvl="0"/>
            <a:r>
              <a:rPr lang="en-GB"/>
              <a:t>Agenda item number two</a:t>
            </a:r>
          </a:p>
          <a:p>
            <a:pPr lvl="0"/>
            <a:r>
              <a:rPr lang="en-GB"/>
              <a:t>Agenda item number three</a:t>
            </a:r>
          </a:p>
        </p:txBody>
      </p:sp>
    </p:spTree>
    <p:extLst>
      <p:ext uri="{BB962C8B-B14F-4D97-AF65-F5344CB8AC3E}">
        <p14:creationId xmlns:p14="http://schemas.microsoft.com/office/powerpoint/2010/main" val="7544750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3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7276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2498FB5-8216-1548-B0EF-EBF44C50486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286238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AA53F0A-0D78-F94E-BF9C-8ACC2184155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665119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18865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3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057276" y="2067243"/>
            <a:ext cx="4957763" cy="6749504"/>
          </a:xfrm>
        </p:spPr>
        <p:txBody>
          <a:bodyPr>
            <a:normAutofit/>
          </a:bodyPr>
          <a:lstStyle>
            <a:lvl1pPr marL="428625" indent="-428625">
              <a:lnSpc>
                <a:spcPct val="120000"/>
              </a:lnSpc>
              <a:buFont typeface="Arial" panose="020B0604020202020204" pitchFamily="34" charset="0"/>
              <a:buChar char="•"/>
              <a:defRPr sz="1950">
                <a:solidFill>
                  <a:schemeClr val="tx1"/>
                </a:solidFill>
              </a:defRPr>
            </a:lvl1pPr>
            <a:lvl2pPr marL="1114425" indent="-428625">
              <a:buFont typeface="Arial" panose="020B0604020202020204" pitchFamily="34" charset="0"/>
              <a:buChar char="•"/>
              <a:defRPr sz="195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ullet list 1</a:t>
            </a:r>
          </a:p>
          <a:p>
            <a:pPr lvl="0"/>
            <a:r>
              <a:rPr lang="en-GB"/>
              <a:t>Bullet list 2</a:t>
            </a:r>
          </a:p>
          <a:p>
            <a:pPr lvl="0"/>
            <a:r>
              <a:rPr lang="en-GB"/>
              <a:t>Bullet list 3</a:t>
            </a:r>
          </a:p>
          <a:p>
            <a:pPr lvl="1"/>
            <a:r>
              <a:rPr lang="en-GB"/>
              <a:t>Level 2 Bullet list 1</a:t>
            </a:r>
          </a:p>
          <a:p>
            <a:pPr lvl="1"/>
            <a:r>
              <a:rPr lang="en-GB"/>
              <a:t>Level 2 Bullet list 2</a:t>
            </a:r>
          </a:p>
          <a:p>
            <a:pPr lvl="1"/>
            <a:r>
              <a:rPr lang="en-GB"/>
              <a:t>Level 2 Bullet list 3</a:t>
            </a:r>
          </a:p>
          <a:p>
            <a:pPr lvl="0"/>
            <a:r>
              <a:rPr lang="en-GB"/>
              <a:t>Bullet list 4</a:t>
            </a:r>
          </a:p>
          <a:p>
            <a:pPr lvl="1"/>
            <a:r>
              <a:rPr lang="en-GB"/>
              <a:t>Level 2 Bullet list 4</a:t>
            </a:r>
          </a:p>
          <a:p>
            <a:pPr lvl="1"/>
            <a:r>
              <a:rPr lang="en-GB"/>
              <a:t>Level 2 Bullet list 5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AA53F0A-0D78-F94E-BF9C-8ACC2184155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665118" y="2067243"/>
            <a:ext cx="10542882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07757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 Slide">
  <p:cSld name="Default Slid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26"/>
          <p:cNvSpPr txBox="1">
            <a:spLocks noGrp="1"/>
          </p:cNvSpPr>
          <p:nvPr>
            <p:ph type="title"/>
          </p:nvPr>
        </p:nvSpPr>
        <p:spPr>
          <a:xfrm>
            <a:off x="4170405" y="0"/>
            <a:ext cx="13073595" cy="1620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80000" rIns="0" bIns="180000" anchor="ctr" anchorCtr="0">
            <a:normAutofit/>
          </a:bodyPr>
          <a:lstStyle>
            <a:lvl1pPr lvl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392702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7A1C639-99B2-4A4E-A848-FCDF8B8CE19B}"/>
              </a:ext>
            </a:extLst>
          </p:cNvPr>
          <p:cNvSpPr/>
          <p:nvPr userDrawn="1"/>
        </p:nvSpPr>
        <p:spPr>
          <a:xfrm>
            <a:off x="0" y="0"/>
            <a:ext cx="18288000" cy="10288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694D6CEC-7C5A-3644-8542-9DB48BE16B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D035378-5C01-FC45-A1F5-C4ADE23D92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4A4C6FB-EF59-2346-BFA1-FB3C5245B1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C84E1F1-FF89-4D45-BFE1-776BF080B0C6}"/>
              </a:ext>
            </a:extLst>
          </p:cNvPr>
          <p:cNvSpPr txBox="1"/>
          <p:nvPr userDrawn="1"/>
        </p:nvSpPr>
        <p:spPr>
          <a:xfrm>
            <a:off x="7672395" y="8720448"/>
            <a:ext cx="54074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I" sz="2700" b="1">
                <a:solidFill>
                  <a:schemeClr val="tx2"/>
                </a:solidFill>
              </a:rPr>
              <a:t>Insert Sensitivity Marking</a:t>
            </a:r>
          </a:p>
        </p:txBody>
      </p:sp>
    </p:spTree>
    <p:extLst>
      <p:ext uri="{BB962C8B-B14F-4D97-AF65-F5344CB8AC3E}">
        <p14:creationId xmlns:p14="http://schemas.microsoft.com/office/powerpoint/2010/main" val="40389395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E58104-D31B-2A46-9D9A-EA9CD0F81CF7}"/>
              </a:ext>
            </a:extLst>
          </p:cNvPr>
          <p:cNvSpPr/>
          <p:nvPr userDrawn="1"/>
        </p:nvSpPr>
        <p:spPr>
          <a:xfrm>
            <a:off x="0" y="0"/>
            <a:ext cx="18288000" cy="102885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A673F9-EB56-8F46-985A-0C5AC15045AE}"/>
              </a:ext>
            </a:extLst>
          </p:cNvPr>
          <p:cNvSpPr txBox="1"/>
          <p:nvPr userDrawn="1"/>
        </p:nvSpPr>
        <p:spPr>
          <a:xfrm>
            <a:off x="7672395" y="8720448"/>
            <a:ext cx="54074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I" sz="2700" b="1">
                <a:solidFill>
                  <a:schemeClr val="bg2"/>
                </a:solidFill>
              </a:rPr>
              <a:t>Insert Sensitivity Marking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EE8584F-776F-CE43-B82A-08901CB04C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3546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enew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tx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393B315-F767-994E-B7A2-6727C97F5E4E}"/>
              </a:ext>
            </a:extLst>
          </p:cNvPr>
          <p:cNvSpPr txBox="1"/>
          <p:nvPr userDrawn="1"/>
        </p:nvSpPr>
        <p:spPr>
          <a:xfrm>
            <a:off x="7558602" y="8640836"/>
            <a:ext cx="54074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SI" sz="2700" b="1">
                <a:solidFill>
                  <a:schemeClr val="tx2"/>
                </a:solidFill>
              </a:rPr>
              <a:t>Insert Sensitivity Marking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9C593FC-B38D-F24A-AAA6-81EAFBB41B1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tx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9605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lo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65700"/>
            <a:ext cx="6617874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B95523F-D147-4043-8292-0F1CB1A989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305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ized Title English No Image">
    <p:bg>
      <p:bgPr>
        <a:solidFill>
          <a:srgbClr val="083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" y="11"/>
            <a:ext cx="3680114" cy="1269152"/>
          </a:xfrm>
          <a:prstGeom prst="rect">
            <a:avLst/>
          </a:prstGeom>
        </p:spPr>
      </p:pic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815968" y="2755630"/>
            <a:ext cx="3106592" cy="1904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350" spc="29" baseline="0">
                <a:solidFill>
                  <a:srgbClr val="083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40018" y="6891652"/>
            <a:ext cx="14284500" cy="423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3000" spc="41" baseline="0">
                <a:solidFill>
                  <a:srgbClr val="F15A4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conference/venue of present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15968" y="3457498"/>
            <a:ext cx="14284500" cy="1988651"/>
          </a:xfrm>
          <a:prstGeom prst="rect">
            <a:avLst/>
          </a:prstGeom>
        </p:spPr>
        <p:txBody>
          <a:bodyPr lIns="0"/>
          <a:lstStyle>
            <a:lvl1pPr>
              <a:defRPr lang="en-US" sz="6301" b="1" spc="-83" baseline="0" dirty="0">
                <a:solidFill>
                  <a:srgbClr val="083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15683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EM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8288000" cy="102885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on renewable energy background imag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2142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A29079-BBF9-2449-9D35-924610060F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00" y="506"/>
            <a:ext cx="18288000" cy="1028858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84888C-D5DC-CE40-B058-C4F8A1386ED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3518" y="265700"/>
            <a:ext cx="6610839" cy="32405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F8C5567-1597-6746-A572-07785B31B403}"/>
              </a:ext>
            </a:extLst>
          </p:cNvPr>
          <p:cNvCxnSpPr>
            <a:cxnSpLocks/>
          </p:cNvCxnSpPr>
          <p:nvPr userDrawn="1"/>
        </p:nvCxnSpPr>
        <p:spPr>
          <a:xfrm>
            <a:off x="6646449" y="1093669"/>
            <a:ext cx="0" cy="810125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591749C-D1A3-984F-AFA4-5ECC1907F0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72395" y="1093669"/>
            <a:ext cx="9558330" cy="4910801"/>
          </a:xfrm>
        </p:spPr>
        <p:txBody>
          <a:bodyPr anchor="ctr">
            <a:normAutofit/>
          </a:bodyPr>
          <a:lstStyle>
            <a:lvl1pPr algn="l">
              <a:defRPr sz="6750">
                <a:solidFill>
                  <a:schemeClr val="bg1"/>
                </a:solidFill>
              </a:defRPr>
            </a:lvl1pPr>
          </a:lstStyle>
          <a:p>
            <a:r>
              <a:rPr lang="en-SI"/>
              <a:t>Title of the presentation background imag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D60C75DC-8031-B34F-8CD7-0B5EA60E28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72395" y="6353382"/>
            <a:ext cx="9674205" cy="1907096"/>
          </a:xfrm>
        </p:spPr>
        <p:txBody>
          <a:bodyPr anchor="t">
            <a:normAutofit/>
          </a:bodyPr>
          <a:lstStyle>
            <a:lvl1pPr marL="0" indent="0" algn="l">
              <a:buNone/>
              <a:defRPr sz="3000">
                <a:solidFill>
                  <a:schemeClr val="bg1"/>
                </a:solidFill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en-GB"/>
              <a:t>Subtitle of the presentation</a:t>
            </a:r>
          </a:p>
          <a:p>
            <a:r>
              <a:rPr lang="en-GB"/>
              <a:t>Speaker Name</a:t>
            </a:r>
          </a:p>
          <a:p>
            <a:r>
              <a:rPr lang="en-GB"/>
              <a:t>Date and Loc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18977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pPr/>
              <a:t>‹#›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5162989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AGENDA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943D43-28BC-8C40-90F1-1912F94F2F9A}"/>
              </a:ext>
            </a:extLst>
          </p:cNvPr>
          <p:cNvSpPr/>
          <p:nvPr userDrawn="1"/>
        </p:nvSpPr>
        <p:spPr>
          <a:xfrm>
            <a:off x="0" y="9424452"/>
            <a:ext cx="18288000" cy="8641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E16D21-2873-7F4D-BC1C-4DCC7B7156B8}" type="slidenum">
              <a:rPr lang="en-SI" smtClean="0"/>
              <a:pPr/>
              <a:t>‹#›</a:t>
            </a:fld>
            <a:endParaRPr lang="en-S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26D3AD-FEF8-4340-934D-46D6144F23E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70405" y="2145644"/>
            <a:ext cx="13101543" cy="6528015"/>
          </a:xfrm>
        </p:spPr>
        <p:txBody>
          <a:bodyPr/>
          <a:lstStyle>
            <a:lvl1pPr marL="514350" indent="-514350">
              <a:buClr>
                <a:schemeClr val="tx2"/>
              </a:buClr>
              <a:buFont typeface="Wingdings" pitchFamily="2" charset="2"/>
              <a:buChar char="§"/>
              <a:defRPr b="1"/>
            </a:lvl1pPr>
            <a:lvl2pPr marL="685800" indent="0">
              <a:buNone/>
              <a:defRPr/>
            </a:lvl2pPr>
            <a:lvl3pPr marL="1371600" indent="0">
              <a:buNone/>
              <a:defRPr/>
            </a:lvl3pPr>
            <a:lvl4pPr marL="2057400" indent="0">
              <a:buNone/>
              <a:defRPr/>
            </a:lvl4pPr>
            <a:lvl5pPr marL="2743200" indent="0">
              <a:buNone/>
              <a:defRPr/>
            </a:lvl5pPr>
          </a:lstStyle>
          <a:p>
            <a:pPr lvl="0"/>
            <a:r>
              <a:rPr lang="en-GB"/>
              <a:t>Agenda item number one</a:t>
            </a:r>
          </a:p>
          <a:p>
            <a:pPr lvl="0"/>
            <a:r>
              <a:rPr lang="en-GB"/>
              <a:t>Agenda item number two</a:t>
            </a:r>
          </a:p>
          <a:p>
            <a:pPr lvl="0"/>
            <a:r>
              <a:rPr lang="en-GB"/>
              <a:t>Agenda item number three</a:t>
            </a:r>
          </a:p>
        </p:txBody>
      </p:sp>
    </p:spTree>
    <p:extLst>
      <p:ext uri="{BB962C8B-B14F-4D97-AF65-F5344CB8AC3E}">
        <p14:creationId xmlns:p14="http://schemas.microsoft.com/office/powerpoint/2010/main" val="41047645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4000" y="1600448"/>
            <a:ext cx="16200000" cy="4627895"/>
          </a:xfrm>
        </p:spPr>
        <p:txBody>
          <a:bodyPr anchor="ctr">
            <a:normAutofit/>
          </a:bodyPr>
          <a:lstStyle>
            <a:lvl1pPr algn="l">
              <a:defRPr sz="9000"/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42200" y="6616134"/>
            <a:ext cx="16200000" cy="2214906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tx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 userDrawn="1"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68584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 userDrawn="1"/>
        </p:nvSpPr>
        <p:spPr>
          <a:xfrm>
            <a:off x="-14286" y="1586156"/>
            <a:ext cx="18302286" cy="78382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4000" y="1586156"/>
            <a:ext cx="16200000" cy="4642188"/>
          </a:xfrm>
        </p:spPr>
        <p:txBody>
          <a:bodyPr anchor="ctr">
            <a:normAutofit/>
          </a:bodyPr>
          <a:lstStyle>
            <a:lvl1pPr algn="l">
              <a:defRPr sz="9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44000" y="6616134"/>
            <a:ext cx="16200000" cy="2214906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 userDrawn="1"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75409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 userDrawn="1"/>
        </p:nvSpPr>
        <p:spPr>
          <a:xfrm>
            <a:off x="0" y="1586156"/>
            <a:ext cx="18288000" cy="783829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4000" y="1586154"/>
            <a:ext cx="16200000" cy="4642188"/>
          </a:xfrm>
        </p:spPr>
        <p:txBody>
          <a:bodyPr anchor="ctr">
            <a:normAutofit/>
          </a:bodyPr>
          <a:lstStyle>
            <a:lvl1pPr algn="l">
              <a:defRPr sz="900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044000" y="6616134"/>
            <a:ext cx="16164000" cy="2214906"/>
          </a:xfrm>
        </p:spPr>
        <p:txBody>
          <a:bodyPr>
            <a:norm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ection subtitle / Speak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CD5DFA-08FC-8B49-A7E1-FB3F1B9A3465}"/>
              </a:ext>
            </a:extLst>
          </p:cNvPr>
          <p:cNvCxnSpPr>
            <a:cxnSpLocks/>
          </p:cNvCxnSpPr>
          <p:nvPr userDrawn="1"/>
        </p:nvCxnSpPr>
        <p:spPr>
          <a:xfrm>
            <a:off x="1044000" y="6250115"/>
            <a:ext cx="1620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244338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0" indent="0">
              <a:lnSpc>
                <a:spcPct val="120000"/>
              </a:lnSpc>
              <a:buClr>
                <a:schemeClr val="tx2"/>
              </a:buClr>
              <a:buNone/>
              <a:defRPr sz="2700"/>
            </a:lvl1pPr>
            <a:lvl2pPr marL="685800" indent="0">
              <a:buNone/>
              <a:defRPr/>
            </a:lvl2pPr>
            <a:lvl3pPr marL="1371600" indent="0">
              <a:buNone/>
              <a:defRPr/>
            </a:lvl3pPr>
            <a:lvl4pPr marL="2057400" indent="0">
              <a:buNone/>
              <a:defRPr/>
            </a:lvl4pPr>
            <a:lvl5pPr marL="27432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8301866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7275" y="2067243"/>
            <a:ext cx="7772400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7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358313" y="2067244"/>
            <a:ext cx="7772400" cy="676379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700"/>
            </a:lvl1pPr>
            <a:lvl2pPr marL="685800" indent="0">
              <a:buFont typeface="Arial" panose="020B0604020202020204" pitchFamily="34" charset="0"/>
              <a:buNone/>
              <a:defRPr sz="3000"/>
            </a:lvl2pPr>
            <a:lvl3pPr marL="1371600" indent="0">
              <a:buFont typeface="Arial" panose="020B0604020202020204" pitchFamily="34" charset="0"/>
              <a:buNone/>
              <a:defRPr sz="3000"/>
            </a:lvl3pPr>
            <a:lvl4pPr marL="2057400" indent="0">
              <a:buFont typeface="Arial" panose="020B0604020202020204" pitchFamily="34" charset="0"/>
              <a:buNone/>
              <a:defRPr sz="3000"/>
            </a:lvl4pPr>
            <a:lvl5pPr marL="2743200" indent="0">
              <a:buFont typeface="Arial" panose="020B0604020202020204" pitchFamily="34" charset="0"/>
              <a:buNone/>
              <a:defRPr sz="3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</p:spTree>
    <p:extLst>
      <p:ext uri="{BB962C8B-B14F-4D97-AF65-F5344CB8AC3E}">
        <p14:creationId xmlns:p14="http://schemas.microsoft.com/office/powerpoint/2010/main" val="30524549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7276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16D21-2873-7F4D-BC1C-4DCC7B7156B8}" type="slidenum">
              <a:rPr lang="en-SI" smtClean="0"/>
              <a:t>‹#›</a:t>
            </a:fld>
            <a:endParaRPr lang="en-SI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2498FB5-8216-1548-B0EF-EBF44C50486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286238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AA53F0A-0D78-F94E-BF9C-8ACC2184155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665119" y="2067243"/>
            <a:ext cx="4957763" cy="6749504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  <a:lvl2pPr marL="6858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2pPr>
            <a:lvl3pPr marL="13716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3pPr>
            <a:lvl4pPr marL="20574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4pPr>
            <a:lvl5pPr marL="2743200" indent="0">
              <a:buFont typeface="Arial" panose="020B0604020202020204" pitchFamily="34" charset="0"/>
              <a:buNone/>
              <a:defRPr sz="3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9770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ized Title Chinese With Image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-1023"/>
            <a:ext cx="7623216" cy="1264583"/>
          </a:xfrm>
          <a:prstGeom prst="rect">
            <a:avLst/>
          </a:prstGeom>
        </p:spPr>
      </p:pic>
      <p:sp>
        <p:nvSpPr>
          <p:cNvPr id="13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815968" y="2755630"/>
            <a:ext cx="3106592" cy="1904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350" spc="29" baseline="0">
                <a:solidFill>
                  <a:srgbClr val="083050"/>
                </a:solidFill>
                <a:latin typeface="Heiti SC Light"/>
                <a:ea typeface="Heiti SC Light"/>
                <a:cs typeface="Heiti SC Light"/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218" y="6759846"/>
            <a:ext cx="14284500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000" spc="41" baseline="0" dirty="0">
                <a:solidFill>
                  <a:srgbClr val="F15A4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 conference/venue of presenta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5966" y="3480811"/>
            <a:ext cx="14284500" cy="914774"/>
          </a:xfrm>
          <a:prstGeom prst="rect">
            <a:avLst/>
          </a:prstGeom>
        </p:spPr>
        <p:txBody>
          <a:bodyPr lIns="0"/>
          <a:lstStyle>
            <a:lvl1pPr>
              <a:defRPr lang="en-US" sz="6301" b="1" spc="-83" baseline="0" dirty="0">
                <a:solidFill>
                  <a:srgbClr val="083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5395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CEC7484-A3E3-C74A-BC15-3E18069ACD90}"/>
              </a:ext>
            </a:extLst>
          </p:cNvPr>
          <p:cNvSpPr/>
          <p:nvPr userDrawn="1"/>
        </p:nvSpPr>
        <p:spPr>
          <a:xfrm>
            <a:off x="-14286" y="1"/>
            <a:ext cx="18302286" cy="80451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4000" y="1586156"/>
            <a:ext cx="16200000" cy="4642188"/>
          </a:xfrm>
        </p:spPr>
        <p:txBody>
          <a:bodyPr anchor="ctr">
            <a:normAutofit/>
          </a:bodyPr>
          <a:lstStyle>
            <a:lvl1pPr algn="l">
              <a:defRPr sz="9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.</a:t>
            </a:r>
            <a:br>
              <a:rPr lang="en-GB"/>
            </a:br>
            <a:r>
              <a:rPr lang="en-GB"/>
              <a:t>Any questions?</a:t>
            </a:r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F1D9E9-0C93-624B-9861-30471BCD6B8F}"/>
              </a:ext>
            </a:extLst>
          </p:cNvPr>
          <p:cNvSpPr/>
          <p:nvPr userDrawn="1"/>
        </p:nvSpPr>
        <p:spPr>
          <a:xfrm>
            <a:off x="-14286" y="7048088"/>
            <a:ext cx="18300600" cy="324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A9C4BA8-0AF4-D648-AE98-33A2D2A473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7048088"/>
            <a:ext cx="6617874" cy="32405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31CC2A2B-06F1-9C48-A629-7933E41A0098}"/>
              </a:ext>
            </a:extLst>
          </p:cNvPr>
          <p:cNvSpPr txBox="1">
            <a:spLocks/>
          </p:cNvSpPr>
          <p:nvPr userDrawn="1"/>
        </p:nvSpPr>
        <p:spPr>
          <a:xfrm>
            <a:off x="14165580" y="8702432"/>
            <a:ext cx="3078420" cy="78320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i="0" kern="1200" spc="-15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defRPr>
            </a:lvl1pPr>
          </a:lstStyle>
          <a:p>
            <a:pPr>
              <a:lnSpc>
                <a:spcPts val="2700"/>
              </a:lnSpc>
            </a:pPr>
            <a:r>
              <a:rPr lang="en-GB" sz="195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@</a:t>
            </a:r>
            <a:r>
              <a:rPr lang="en-GB" sz="1950" spc="0" err="1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eu_acer</a:t>
            </a:r>
            <a:endParaRPr lang="en-GB" sz="1950" spc="0">
              <a:latin typeface="Arial" panose="020B0604020202020204" pitchFamily="34" charset="0"/>
              <a:ea typeface="Inter" panose="020B0502030000000004" pitchFamily="34" charset="0"/>
              <a:cs typeface="Arial" panose="020B0604020202020204" pitchFamily="34" charset="0"/>
            </a:endParaRPr>
          </a:p>
          <a:p>
            <a:pPr>
              <a:lnSpc>
                <a:spcPts val="2700"/>
              </a:lnSpc>
            </a:pPr>
            <a:r>
              <a:rPr lang="en-GB" sz="1950" spc="0" err="1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linkedin.com</a:t>
            </a:r>
            <a:r>
              <a:rPr lang="en-GB" sz="195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rPr>
              <a:t>/in/EU-ACER/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B12CBEB-0DAC-8F4B-9A0A-2BFD123ED617}"/>
              </a:ext>
            </a:extLst>
          </p:cNvPr>
          <p:cNvCxnSpPr/>
          <p:nvPr userDrawn="1"/>
        </p:nvCxnSpPr>
        <p:spPr>
          <a:xfrm>
            <a:off x="6617874" y="7830759"/>
            <a:ext cx="0" cy="165487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3F3945A4-27D8-8A4B-86E7-74C2FFBDED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782618" y="8896804"/>
            <a:ext cx="270000" cy="27004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8885DA4-0882-6640-9254-F39276BB7056}"/>
              </a:ext>
            </a:extLst>
          </p:cNvPr>
          <p:cNvGrpSpPr/>
          <p:nvPr userDrawn="1"/>
        </p:nvGrpSpPr>
        <p:grpSpPr>
          <a:xfrm>
            <a:off x="10192514" y="8702432"/>
            <a:ext cx="3852224" cy="783205"/>
            <a:chOff x="6801717" y="5800726"/>
            <a:chExt cx="2568149" cy="522056"/>
          </a:xfrm>
        </p:grpSpPr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001696BD-2EC4-194B-A7B8-62A129E01F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062279" y="5800726"/>
              <a:ext cx="2307587" cy="522056"/>
            </a:xfrm>
            <a:prstGeom prst="rect">
              <a:avLst/>
            </a:prstGeom>
          </p:spPr>
          <p:txBody>
            <a:bodyPr vert="horz" lIns="0" tIns="0" rIns="0" bIns="0" rtlCol="0" anchor="b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500" b="0" i="0" kern="1200" spc="-150">
                  <a:solidFill>
                    <a:schemeClr val="tx1"/>
                  </a:solidFill>
                  <a:latin typeface="Inter" panose="020B0502030000000004" pitchFamily="34" charset="0"/>
                  <a:ea typeface="Inter" panose="020B0502030000000004" pitchFamily="34" charset="0"/>
                  <a:cs typeface="Inter" panose="020B0502030000000004" pitchFamily="34" charset="0"/>
                </a:defRPr>
              </a:lvl1pPr>
            </a:lstStyle>
            <a:p>
              <a:pPr>
                <a:lnSpc>
                  <a:spcPts val="2700"/>
                </a:lnSpc>
              </a:pPr>
              <a:r>
                <a:rPr lang="en-GB" sz="1950" u="none" spc="0" err="1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info@acer.europa.eu</a:t>
              </a:r>
              <a:endParaRPr lang="en-GB" sz="1950" u="none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  <a:p>
              <a:pPr>
                <a:lnSpc>
                  <a:spcPts val="2700"/>
                </a:lnSpc>
              </a:pPr>
              <a:r>
                <a:rPr lang="en-GB" sz="1950" spc="0" err="1">
                  <a:latin typeface="Arial" panose="020B0604020202020204" pitchFamily="34" charset="0"/>
                  <a:ea typeface="Inter" panose="020B0502030000000004" pitchFamily="34" charset="0"/>
                  <a:cs typeface="Arial" panose="020B0604020202020204" pitchFamily="34" charset="0"/>
                </a:rPr>
                <a:t>acer.europa.eu</a:t>
              </a:r>
              <a:endParaRPr lang="en-SI" sz="1950" spc="0">
                <a:latin typeface="Arial" panose="020B0604020202020204" pitchFamily="34" charset="0"/>
                <a:ea typeface="Inter" panose="020B05020300000000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6AEEF0F-3AEB-C345-8CAB-7C7FCCF315B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6808398" y="5930287"/>
              <a:ext cx="180000" cy="18000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DCA2645C-0119-3745-BB46-C257A4A0C8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801717" y="6137846"/>
              <a:ext cx="180000" cy="180000"/>
            </a:xfrm>
            <a:prstGeom prst="rect">
              <a:avLst/>
            </a:prstGeom>
          </p:spPr>
        </p:pic>
      </p:grp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0A7DAC23-150B-AE4C-B495-CDC29B0541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3789901" y="9208190"/>
            <a:ext cx="312108" cy="263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9560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715509" y="6663452"/>
            <a:ext cx="12731918" cy="1519154"/>
          </a:xfrm>
        </p:spPr>
        <p:txBody>
          <a:bodyPr/>
          <a:lstStyle>
            <a:lvl1pPr algn="l">
              <a:defRPr baseline="0">
                <a:solidFill>
                  <a:srgbClr val="00457D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715509" y="9170616"/>
            <a:ext cx="12731918" cy="835534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250" b="1" i="0" baseline="0">
                <a:solidFill>
                  <a:schemeClr val="tx2"/>
                </a:solidFill>
                <a:latin typeface="Arial" pitchFamily="34" charset="0"/>
              </a:defRPr>
            </a:lvl1pPr>
            <a:lvl2pPr marL="685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57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43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28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14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00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486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341505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300">
                <a:solidFill>
                  <a:schemeClr val="tx1"/>
                </a:solidFill>
              </a:defRPr>
            </a:lvl1pPr>
            <a:lvl2pPr>
              <a:defRPr sz="3000"/>
            </a:lvl2pPr>
            <a:lvl3pPr>
              <a:defRPr sz="2700"/>
            </a:lvl3pPr>
            <a:lvl4pPr>
              <a:defRPr sz="2400"/>
            </a:lvl4pPr>
            <a:lvl5pPr>
              <a:defRPr sz="2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aseline="0"/>
            </a:lvl1pPr>
          </a:lstStyle>
          <a:p>
            <a:fld id="{B6FC493D-445C-4FC4-A7DE-4CE38556806E}" type="datetime1">
              <a:rPr lang="en-GB" smtClean="0"/>
              <a:pPr/>
              <a:t>14/1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57010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44626" y="6611377"/>
            <a:ext cx="15544800" cy="2043428"/>
          </a:xfrm>
        </p:spPr>
        <p:txBody>
          <a:bodyPr anchor="t">
            <a:normAutofit/>
          </a:bodyPr>
          <a:lstStyle>
            <a:lvl1pPr algn="l">
              <a:defRPr sz="3600" b="1" cap="all" baseline="0"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444626" y="4360749"/>
            <a:ext cx="15544800" cy="2250628"/>
          </a:xfrm>
        </p:spPr>
        <p:txBody>
          <a:bodyPr anchor="b">
            <a:normAutofit/>
          </a:bodyPr>
          <a:lstStyle>
            <a:lvl1pPr marL="0" indent="0">
              <a:buNone/>
              <a:defRPr sz="3000" baseline="0">
                <a:solidFill>
                  <a:schemeClr val="tx2"/>
                </a:solidFill>
                <a:latin typeface="Arial" pitchFamily="34" charset="0"/>
              </a:defRPr>
            </a:lvl1pPr>
            <a:lvl2pPr marL="685766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2pPr>
            <a:lvl3pPr marL="137153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205729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74305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342882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411459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80035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548612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09276-DB6E-4506-8951-DBDA404B2D10}" type="datetime1">
              <a:rPr lang="en-GB" smtClean="0"/>
              <a:t>14/1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03686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245626" y="3397268"/>
            <a:ext cx="7834367" cy="5830767"/>
          </a:xfrm>
        </p:spPr>
        <p:txBody>
          <a:bodyPr/>
          <a:lstStyle>
            <a:lvl1pPr>
              <a:defRPr sz="3300" b="1" i="0" baseline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3000" baseline="0"/>
            </a:lvl2pPr>
            <a:lvl3pPr>
              <a:defRPr sz="2700" baseline="0"/>
            </a:lvl3pPr>
            <a:lvl4pPr>
              <a:defRPr sz="2400" baseline="0"/>
            </a:lvl4pPr>
            <a:lvl5pPr>
              <a:defRPr sz="2100" baseline="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9447788" y="3397268"/>
            <a:ext cx="7834367" cy="5830767"/>
          </a:xfrm>
        </p:spPr>
        <p:txBody>
          <a:bodyPr/>
          <a:lstStyle>
            <a:lvl1pPr>
              <a:defRPr sz="3300" b="1" i="0" baseline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3000" baseline="0"/>
            </a:lvl2pPr>
            <a:lvl3pPr>
              <a:defRPr sz="2700" baseline="0"/>
            </a:lvl3pPr>
            <a:lvl4pPr>
              <a:defRPr sz="2400" baseline="0"/>
            </a:lvl4pPr>
            <a:lvl5pPr>
              <a:defRPr sz="2100" baseline="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5F74-ED4B-4685-A4C7-675EF2628A62}" type="datetime1">
              <a:rPr lang="en-GB" smtClean="0"/>
              <a:t>14/1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74051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14401" y="2303025"/>
            <a:ext cx="8080376" cy="959791"/>
          </a:xfrm>
        </p:spPr>
        <p:txBody>
          <a:bodyPr anchor="b">
            <a:noAutofit/>
          </a:bodyPr>
          <a:lstStyle>
            <a:lvl1pPr marL="0" indent="0">
              <a:buNone/>
              <a:defRPr sz="3300" b="1" baseline="0">
                <a:solidFill>
                  <a:schemeClr val="tx1"/>
                </a:solidFill>
                <a:latin typeface="Arial" pitchFamily="34" charset="0"/>
              </a:defRPr>
            </a:lvl1pPr>
            <a:lvl2pPr marL="685766" indent="0">
              <a:buNone/>
              <a:defRPr sz="3000" b="1"/>
            </a:lvl2pPr>
            <a:lvl3pPr marL="1371530" indent="0">
              <a:buNone/>
              <a:defRPr sz="2700" b="1"/>
            </a:lvl3pPr>
            <a:lvl4pPr marL="2057295" indent="0">
              <a:buNone/>
              <a:defRPr sz="2400" b="1"/>
            </a:lvl4pPr>
            <a:lvl5pPr marL="2743059" indent="0">
              <a:buNone/>
              <a:defRPr sz="2400" b="1"/>
            </a:lvl5pPr>
            <a:lvl6pPr marL="3428825" indent="0">
              <a:buNone/>
              <a:defRPr sz="2400" b="1"/>
            </a:lvl6pPr>
            <a:lvl7pPr marL="4114590" indent="0">
              <a:buNone/>
              <a:defRPr sz="2400" b="1"/>
            </a:lvl7pPr>
            <a:lvl8pPr marL="4800354" indent="0">
              <a:buNone/>
              <a:defRPr sz="2400" b="1"/>
            </a:lvl8pPr>
            <a:lvl9pPr marL="548612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914401" y="3262816"/>
            <a:ext cx="8080376" cy="5927847"/>
          </a:xfrm>
        </p:spPr>
        <p:txBody>
          <a:bodyPr/>
          <a:lstStyle>
            <a:lvl1pPr>
              <a:defRPr sz="3300" baseline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3000" baseline="0"/>
            </a:lvl2pPr>
            <a:lvl3pPr>
              <a:defRPr sz="2700" baseline="0"/>
            </a:lvl3pPr>
            <a:lvl4pPr>
              <a:defRPr sz="2400" baseline="0"/>
            </a:lvl4pPr>
            <a:lvl5pPr>
              <a:defRPr sz="2100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9290056" y="2303025"/>
            <a:ext cx="8083550" cy="959791"/>
          </a:xfrm>
        </p:spPr>
        <p:txBody>
          <a:bodyPr anchor="b">
            <a:noAutofit/>
          </a:bodyPr>
          <a:lstStyle>
            <a:lvl1pPr marL="0" indent="0">
              <a:buNone/>
              <a:defRPr sz="3300" b="1" baseline="0">
                <a:solidFill>
                  <a:schemeClr val="tx1"/>
                </a:solidFill>
                <a:latin typeface="Arial" pitchFamily="34" charset="0"/>
              </a:defRPr>
            </a:lvl1pPr>
            <a:lvl2pPr marL="685766" indent="0">
              <a:buNone/>
              <a:defRPr sz="3000" b="1"/>
            </a:lvl2pPr>
            <a:lvl3pPr marL="1371530" indent="0">
              <a:buNone/>
              <a:defRPr sz="2700" b="1"/>
            </a:lvl3pPr>
            <a:lvl4pPr marL="2057295" indent="0">
              <a:buNone/>
              <a:defRPr sz="2400" b="1"/>
            </a:lvl4pPr>
            <a:lvl5pPr marL="2743059" indent="0">
              <a:buNone/>
              <a:defRPr sz="2400" b="1"/>
            </a:lvl5pPr>
            <a:lvl6pPr marL="3428825" indent="0">
              <a:buNone/>
              <a:defRPr sz="2400" b="1"/>
            </a:lvl6pPr>
            <a:lvl7pPr marL="4114590" indent="0">
              <a:buNone/>
              <a:defRPr sz="2400" b="1"/>
            </a:lvl7pPr>
            <a:lvl8pPr marL="4800354" indent="0">
              <a:buNone/>
              <a:defRPr sz="2400" b="1"/>
            </a:lvl8pPr>
            <a:lvl9pPr marL="5486120" indent="0">
              <a:buNone/>
              <a:defRPr sz="24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9290056" y="3262816"/>
            <a:ext cx="8083550" cy="5927847"/>
          </a:xfrm>
        </p:spPr>
        <p:txBody>
          <a:bodyPr/>
          <a:lstStyle>
            <a:lvl1pPr>
              <a:defRPr sz="3300" baseline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3000" baseline="0"/>
            </a:lvl2pPr>
            <a:lvl3pPr>
              <a:defRPr sz="2700" baseline="0"/>
            </a:lvl3pPr>
            <a:lvl4pPr>
              <a:defRPr sz="2400" baseline="0"/>
            </a:lvl4pPr>
            <a:lvl5pPr>
              <a:defRPr sz="2100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562CA2-AC71-4526-A883-96DC5255352F}" type="datetime1">
              <a:rPr lang="en-GB" smtClean="0"/>
              <a:t>14/12/202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  <p:sp>
        <p:nvSpPr>
          <p:cNvPr id="10" name="Titre 1"/>
          <p:cNvSpPr txBox="1">
            <a:spLocks/>
          </p:cNvSpPr>
          <p:nvPr userDrawn="1"/>
        </p:nvSpPr>
        <p:spPr>
          <a:xfrm>
            <a:off x="4931532" y="662793"/>
            <a:ext cx="12442071" cy="1463993"/>
          </a:xfrm>
          <a:prstGeom prst="rect">
            <a:avLst/>
          </a:prstGeom>
        </p:spPr>
        <p:txBody>
          <a:bodyPr vert="horz" lIns="137153" tIns="68577" rIns="137153" bIns="68577" rtlCol="0" anchor="ctr">
            <a:normAutofit/>
          </a:bodyPr>
          <a:lstStyle/>
          <a:p>
            <a:pPr marL="0" marR="0" lvl="0" indent="0" algn="l" defTabSz="137153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586892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736AD-CEF5-48DA-B35F-2BAB3E97A69B}" type="datetime1">
              <a:rPr lang="en-GB" smtClean="0"/>
              <a:t>14/12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01970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1363E-B115-47CD-AEF4-B4CF64F4443A}" type="datetime1">
              <a:rPr lang="en-GB" smtClean="0"/>
              <a:t>14/12/202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43700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4405" y="2514745"/>
            <a:ext cx="6016626" cy="1262317"/>
          </a:xfrm>
        </p:spPr>
        <p:txBody>
          <a:bodyPr anchor="b">
            <a:noAutofit/>
          </a:bodyPr>
          <a:lstStyle>
            <a:lvl1pPr algn="l">
              <a:defRPr sz="3600" b="1" baseline="0"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150100" y="814712"/>
            <a:ext cx="10223501" cy="8375956"/>
          </a:xfrm>
        </p:spPr>
        <p:txBody>
          <a:bodyPr/>
          <a:lstStyle>
            <a:lvl1pPr>
              <a:defRPr sz="3000" baseline="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250" baseline="0"/>
            </a:lvl2pPr>
            <a:lvl3pPr>
              <a:defRPr sz="1950" baseline="0"/>
            </a:lvl3pPr>
            <a:lvl4pPr>
              <a:defRPr sz="1950" baseline="0"/>
            </a:lvl4pPr>
            <a:lvl5pPr>
              <a:defRPr sz="1950" baseline="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914405" y="4094832"/>
            <a:ext cx="6016626" cy="5095831"/>
          </a:xfrm>
        </p:spPr>
        <p:txBody>
          <a:bodyPr>
            <a:normAutofit/>
          </a:bodyPr>
          <a:lstStyle>
            <a:lvl1pPr marL="0" indent="0">
              <a:buNone/>
              <a:defRPr sz="3000" baseline="0">
                <a:solidFill>
                  <a:schemeClr val="tx1"/>
                </a:solidFill>
                <a:latin typeface="Arial" pitchFamily="34" charset="0"/>
              </a:defRPr>
            </a:lvl1pPr>
            <a:lvl2pPr marL="685766" indent="0">
              <a:buNone/>
              <a:defRPr sz="1800"/>
            </a:lvl2pPr>
            <a:lvl3pPr marL="1371530" indent="0">
              <a:buNone/>
              <a:defRPr sz="1500"/>
            </a:lvl3pPr>
            <a:lvl4pPr marL="2057295" indent="0">
              <a:buNone/>
              <a:defRPr sz="1350"/>
            </a:lvl4pPr>
            <a:lvl5pPr marL="2743059" indent="0">
              <a:buNone/>
              <a:defRPr sz="1350"/>
            </a:lvl5pPr>
            <a:lvl6pPr marL="3428825" indent="0">
              <a:buNone/>
              <a:defRPr sz="1350"/>
            </a:lvl6pPr>
            <a:lvl7pPr marL="4114590" indent="0">
              <a:buNone/>
              <a:defRPr sz="1350"/>
            </a:lvl7pPr>
            <a:lvl8pPr marL="4800354" indent="0">
              <a:buNone/>
              <a:defRPr sz="1350"/>
            </a:lvl8pPr>
            <a:lvl9pPr marL="5486120" indent="0">
              <a:buNone/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7892A-1FD1-4ACE-9D7C-5987A1C13FD6}" type="datetime1">
              <a:rPr lang="en-GB" smtClean="0"/>
              <a:t>14/1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13500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511208" y="7195151"/>
            <a:ext cx="10972800" cy="850238"/>
          </a:xfrm>
        </p:spPr>
        <p:txBody>
          <a:bodyPr anchor="b"/>
          <a:lstStyle>
            <a:lvl1pPr algn="l">
              <a:defRPr sz="3000" b="1"/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6511208" y="890665"/>
            <a:ext cx="10972800" cy="6173153"/>
          </a:xfrm>
        </p:spPr>
        <p:txBody>
          <a:bodyPr/>
          <a:lstStyle>
            <a:lvl1pPr marL="0" indent="0">
              <a:buNone/>
              <a:defRPr sz="4800"/>
            </a:lvl1pPr>
            <a:lvl2pPr marL="685766" indent="0">
              <a:buNone/>
              <a:defRPr sz="4200"/>
            </a:lvl2pPr>
            <a:lvl3pPr marL="1371530" indent="0">
              <a:buNone/>
              <a:defRPr sz="3600"/>
            </a:lvl3pPr>
            <a:lvl4pPr marL="2057295" indent="0">
              <a:buNone/>
              <a:defRPr sz="3000"/>
            </a:lvl4pPr>
            <a:lvl5pPr marL="2743059" indent="0">
              <a:buNone/>
              <a:defRPr sz="3000"/>
            </a:lvl5pPr>
            <a:lvl6pPr marL="3428825" indent="0">
              <a:buNone/>
              <a:defRPr sz="3000"/>
            </a:lvl6pPr>
            <a:lvl7pPr marL="4114590" indent="0">
              <a:buNone/>
              <a:defRPr sz="3000"/>
            </a:lvl7pPr>
            <a:lvl8pPr marL="4800354" indent="0">
              <a:buNone/>
              <a:defRPr sz="3000"/>
            </a:lvl8pPr>
            <a:lvl9pPr marL="5486120" indent="0">
              <a:buNone/>
              <a:defRPr sz="3000"/>
            </a:lvl9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511208" y="8030686"/>
            <a:ext cx="10972800" cy="1207479"/>
          </a:xfrm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  <a:lvl2pPr marL="685766" indent="0">
              <a:buNone/>
              <a:defRPr sz="1800"/>
            </a:lvl2pPr>
            <a:lvl3pPr marL="1371530" indent="0">
              <a:buNone/>
              <a:defRPr sz="1500"/>
            </a:lvl3pPr>
            <a:lvl4pPr marL="2057295" indent="0">
              <a:buNone/>
              <a:defRPr sz="1350"/>
            </a:lvl4pPr>
            <a:lvl5pPr marL="2743059" indent="0">
              <a:buNone/>
              <a:defRPr sz="1350"/>
            </a:lvl5pPr>
            <a:lvl6pPr marL="3428825" indent="0">
              <a:buNone/>
              <a:defRPr sz="1350"/>
            </a:lvl6pPr>
            <a:lvl7pPr marL="4114590" indent="0">
              <a:buNone/>
              <a:defRPr sz="1350"/>
            </a:lvl7pPr>
            <a:lvl8pPr marL="4800354" indent="0">
              <a:buNone/>
              <a:defRPr sz="1350"/>
            </a:lvl8pPr>
            <a:lvl9pPr marL="5486120" indent="0">
              <a:buNone/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FB8FAE-1D99-443F-90E6-386401D0B90D}" type="datetime1">
              <a:rPr lang="en-GB" smtClean="0"/>
              <a:t>14/12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8138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onalized Title Chinese No Image">
    <p:bg>
      <p:bgPr>
        <a:solidFill>
          <a:srgbClr val="083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" y="-1023"/>
            <a:ext cx="7623216" cy="1264583"/>
          </a:xfrm>
          <a:prstGeom prst="rect">
            <a:avLst/>
          </a:prstGeom>
        </p:spPr>
      </p:pic>
      <p:sp>
        <p:nvSpPr>
          <p:cNvPr id="13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815968" y="2755630"/>
            <a:ext cx="3106592" cy="1904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350" spc="29" baseline="0">
                <a:solidFill>
                  <a:srgbClr val="09304F"/>
                </a:solidFill>
                <a:latin typeface="Heiti SC Light"/>
                <a:ea typeface="Heiti SC Light"/>
                <a:cs typeface="Heiti SC Light"/>
              </a:defRPr>
            </a:lvl1pPr>
          </a:lstStyle>
          <a:p>
            <a:pPr lvl="0"/>
            <a:r>
              <a:rPr lang="en-US"/>
              <a:t>Click to edit dat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39218" y="6759846"/>
            <a:ext cx="14284500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000" spc="41" baseline="0" dirty="0">
                <a:solidFill>
                  <a:srgbClr val="F15A4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US"/>
              <a:t>Click to edit conference/venue of presenta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5966" y="3448944"/>
            <a:ext cx="14284500" cy="914774"/>
          </a:xfrm>
          <a:prstGeom prst="rect">
            <a:avLst/>
          </a:prstGeom>
        </p:spPr>
        <p:txBody>
          <a:bodyPr lIns="0"/>
          <a:lstStyle>
            <a:lvl1pPr>
              <a:defRPr lang="en-US" sz="6301" b="1" spc="-83" baseline="0" dirty="0">
                <a:solidFill>
                  <a:srgbClr val="083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91102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2A997A-888B-49A8-B294-A3D12A0C354B}" type="datetime1">
              <a:rPr lang="en-GB" smtClean="0"/>
              <a:t>14/1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26676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13433355" y="2030033"/>
            <a:ext cx="4377782" cy="71400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289141" y="2030033"/>
            <a:ext cx="12905312" cy="7140021"/>
          </a:xfrm>
        </p:spPr>
        <p:txBody>
          <a:bodyPr vert="eaVert"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14457-D666-4833-A078-3E137A35B47D}" type="datetime1">
              <a:rPr lang="en-GB" smtClean="0"/>
              <a:t>14/12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35401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No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809568" y="3025132"/>
            <a:ext cx="16654088" cy="831158"/>
          </a:xfrm>
          <a:prstGeom prst="rect">
            <a:avLst/>
          </a:prstGeom>
        </p:spPr>
        <p:txBody>
          <a:bodyPr wrap="square" lIns="0" tIns="40339" rIns="0" bIns="40339">
            <a:spAutoFit/>
          </a:bodyPr>
          <a:lstStyle>
            <a:lvl1pPr marL="0" indent="0">
              <a:lnSpc>
                <a:spcPct val="110000"/>
              </a:lnSpc>
              <a:buNone/>
              <a:defRPr sz="4801" b="1" spc="-14" baseline="0">
                <a:solidFill>
                  <a:srgbClr val="083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</a:t>
            </a: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33815" y="3896603"/>
            <a:ext cx="16618582" cy="77771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10000"/>
              </a:lnSpc>
              <a:buNone/>
              <a:defRPr sz="4201">
                <a:solidFill>
                  <a:srgbClr val="08305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305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8486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0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image" Target="../media/image14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57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24.jpe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773"/>
            <a:ext cx="15773400" cy="1988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860"/>
            <a:ext cx="15773400" cy="65280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5998"/>
            <a:ext cx="4114800" cy="547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rgbClr val="0045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12/1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5998"/>
            <a:ext cx="6172200" cy="547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rgbClr val="0045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5998"/>
            <a:ext cx="4114800" cy="547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rgbClr val="0045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02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6" r:id="rId3"/>
    <p:sldLayoutId id="2147483895" r:id="rId4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rgbClr val="00457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rgbClr val="00457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rgbClr val="00457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rgbClr val="00457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rgbClr val="00457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rgbClr val="00457C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2061503"/>
            <a:ext cx="16053954" cy="7067099"/>
          </a:xfrm>
          <a:prstGeom prst="rect">
            <a:avLst/>
          </a:prstGeom>
          <a:solidFill>
            <a:schemeClr val="bg1">
              <a:alpha val="9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036" tIns="60518" rIns="121036" bIns="60518" rtlCol="0" anchor="ctr"/>
          <a:lstStyle/>
          <a:p>
            <a:pPr algn="ctr"/>
            <a:endParaRPr lang="en-US" sz="270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839218" y="7558834"/>
            <a:ext cx="5486400" cy="0"/>
          </a:xfrm>
          <a:prstGeom prst="line">
            <a:avLst/>
          </a:prstGeom>
          <a:ln>
            <a:solidFill>
              <a:srgbClr val="0B2F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6893345" y="7558834"/>
            <a:ext cx="3840478" cy="0"/>
          </a:xfrm>
          <a:prstGeom prst="line">
            <a:avLst/>
          </a:prstGeom>
          <a:ln>
            <a:solidFill>
              <a:srgbClr val="0B2F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11264733" y="7558834"/>
            <a:ext cx="3840478" cy="0"/>
          </a:xfrm>
          <a:prstGeom prst="line">
            <a:avLst/>
          </a:prstGeom>
          <a:ln>
            <a:solidFill>
              <a:srgbClr val="0B2F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5"/>
          <p:cNvSpPr txBox="1">
            <a:spLocks/>
          </p:cNvSpPr>
          <p:nvPr userDrawn="1"/>
        </p:nvSpPr>
        <p:spPr>
          <a:xfrm>
            <a:off x="839218" y="7699638"/>
            <a:ext cx="5486400" cy="61767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319" rtl="0" eaLnBrk="1" latinLnBrk="0" hangingPunct="1">
              <a:lnSpc>
                <a:spcPct val="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rgbClr val="0B2F4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39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8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7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6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5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9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52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/>
              <a:t>Bram Claeys</a:t>
            </a:r>
          </a:p>
          <a:p>
            <a:r>
              <a:rPr lang="en-US" sz="1500"/>
              <a:t>Senior Advisor</a:t>
            </a:r>
          </a:p>
          <a:p>
            <a:r>
              <a:rPr lang="en-US" sz="1500"/>
              <a:t>Regulatory Assistance Project (RAP)</a:t>
            </a:r>
            <a:r>
              <a:rPr lang="en-US" sz="1500" baseline="30000"/>
              <a:t>®</a:t>
            </a:r>
          </a:p>
        </p:txBody>
      </p:sp>
      <p:sp>
        <p:nvSpPr>
          <p:cNvPr id="8" name="Text Placeholder 25"/>
          <p:cNvSpPr txBox="1">
            <a:spLocks/>
          </p:cNvSpPr>
          <p:nvPr userDrawn="1"/>
        </p:nvSpPr>
        <p:spPr>
          <a:xfrm>
            <a:off x="6893347" y="7699638"/>
            <a:ext cx="3840478" cy="13467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319" rtl="0" eaLnBrk="1" latinLnBrk="0" hangingPunct="1">
              <a:lnSpc>
                <a:spcPct val="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rgbClr val="0B2F4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39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8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7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6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5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9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52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/>
              <a:t>Rue</a:t>
            </a:r>
            <a:r>
              <a:rPr lang="en-US" sz="1500" baseline="0"/>
              <a:t> de la Science 23</a:t>
            </a:r>
          </a:p>
          <a:p>
            <a:r>
              <a:rPr lang="en-US" sz="1500" baseline="0"/>
              <a:t>B-1040 Brussels</a:t>
            </a:r>
          </a:p>
          <a:p>
            <a:r>
              <a:rPr lang="en-US" sz="1500" baseline="0"/>
              <a:t>Belgium</a:t>
            </a:r>
            <a:endParaRPr lang="en-US" sz="1500"/>
          </a:p>
        </p:txBody>
      </p:sp>
      <p:sp>
        <p:nvSpPr>
          <p:cNvPr id="9" name="Text Placeholder 25"/>
          <p:cNvSpPr txBox="1">
            <a:spLocks/>
          </p:cNvSpPr>
          <p:nvPr userDrawn="1"/>
        </p:nvSpPr>
        <p:spPr>
          <a:xfrm>
            <a:off x="11271649" y="7699634"/>
            <a:ext cx="3840478" cy="8613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319" rtl="0" eaLnBrk="1" latinLnBrk="0" hangingPunct="1">
              <a:lnSpc>
                <a:spcPct val="5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rgbClr val="0B2F4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39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8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7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6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5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9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52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0" i="0" u="none" strike="noStrike" kern="1200">
                <a:solidFill>
                  <a:srgbClr val="0B2F4E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32 474 594 670</a:t>
            </a:r>
          </a:p>
          <a:p>
            <a:r>
              <a:rPr lang="en-US" sz="1500" u="none" baseline="0"/>
              <a:t>bclaeys@raponline.org</a:t>
            </a:r>
          </a:p>
          <a:p>
            <a:r>
              <a:rPr lang="en-US" sz="1500" baseline="0"/>
              <a:t>twitter: @</a:t>
            </a:r>
            <a:r>
              <a:rPr lang="en-US" sz="1500" baseline="0" err="1"/>
              <a:t>bramcla</a:t>
            </a:r>
            <a:endParaRPr lang="en-US" sz="1500" baseline="0"/>
          </a:p>
          <a:p>
            <a:r>
              <a:rPr lang="en-US" sz="1500" baseline="0" err="1"/>
              <a:t>raponline.org</a:t>
            </a:r>
            <a:endParaRPr lang="en-US" sz="15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110E2C2-3369-D8A1-F0E8-1446D234F0F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" y="7"/>
            <a:ext cx="2760511" cy="1269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083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</p:sldLayoutIdLst>
  <p:hf hdr="0" ftr="0" dt="0"/>
  <p:txStyles>
    <p:titleStyle>
      <a:lvl1pPr algn="l" defTabSz="1371661" rtl="0" eaLnBrk="1" latinLnBrk="0" hangingPunct="1">
        <a:lnSpc>
          <a:spcPct val="90000"/>
        </a:lnSpc>
        <a:spcBef>
          <a:spcPct val="0"/>
        </a:spcBef>
        <a:buNone/>
        <a:defRPr sz="66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14" indent="-342914" algn="l" defTabSz="1371661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1" kern="1200">
          <a:solidFill>
            <a:schemeClr val="tx1"/>
          </a:solidFill>
          <a:latin typeface="+mn-lt"/>
          <a:ea typeface="+mn-ea"/>
          <a:cs typeface="+mn-cs"/>
        </a:defRPr>
      </a:lvl1pPr>
      <a:lvl2pPr marL="102874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7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40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23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206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89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727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55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6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9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32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15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98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81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64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822623" y="9430574"/>
            <a:ext cx="13789602" cy="0"/>
          </a:xfrm>
          <a:prstGeom prst="line">
            <a:avLst/>
          </a:prstGeom>
          <a:ln w="12700">
            <a:solidFill>
              <a:srgbClr val="6A6A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15036510" y="9430574"/>
            <a:ext cx="2415888" cy="0"/>
          </a:xfrm>
          <a:prstGeom prst="line">
            <a:avLst/>
          </a:prstGeom>
          <a:ln w="12700">
            <a:solidFill>
              <a:srgbClr val="6A6A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841153" y="9602683"/>
            <a:ext cx="5068454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50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tory Assistance Project (RAP)</a:t>
            </a:r>
            <a:r>
              <a:rPr lang="en-US" sz="1500" baseline="3000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n-US" sz="1500">
                <a:solidFill>
                  <a:srgbClr val="6A6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20833" y="604712"/>
            <a:ext cx="1532658" cy="0"/>
          </a:xfrm>
          <a:prstGeom prst="line">
            <a:avLst/>
          </a:prstGeom>
          <a:ln w="28575">
            <a:solidFill>
              <a:srgbClr val="F15A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820831" y="1028860"/>
            <a:ext cx="16631566" cy="1988651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34C938C-6556-4F1B-B842-1F8A1118CFA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523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</p:sldLayoutIdLst>
  <p:hf hdr="0" ftr="0" dt="0"/>
  <p:txStyles>
    <p:titleStyle>
      <a:lvl1pPr algn="l" defTabSz="1371661" rtl="0" eaLnBrk="1" latinLnBrk="0" hangingPunct="1">
        <a:lnSpc>
          <a:spcPct val="90000"/>
        </a:lnSpc>
        <a:spcBef>
          <a:spcPct val="0"/>
        </a:spcBef>
        <a:buNone/>
        <a:defRPr lang="en-US" sz="6301" b="1" kern="4000" spc="-96" baseline="0" smtClean="0">
          <a:solidFill>
            <a:srgbClr val="08305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342914" indent="-342914" algn="l" defTabSz="1371661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1" kern="1200">
          <a:solidFill>
            <a:schemeClr val="tx1"/>
          </a:solidFill>
          <a:latin typeface="+mn-lt"/>
          <a:ea typeface="+mn-ea"/>
          <a:cs typeface="+mn-cs"/>
        </a:defRPr>
      </a:lvl1pPr>
      <a:lvl2pPr marL="102874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7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40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23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206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89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727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55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6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9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32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15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98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81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64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41613" y="421438"/>
            <a:ext cx="17404774" cy="9599320"/>
          </a:xfrm>
          <a:prstGeom prst="rect">
            <a:avLst/>
          </a:prstGeom>
          <a:solidFill>
            <a:srgbClr val="E1F4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036" tIns="60518" rIns="121036" bIns="60518" rtlCol="0" anchor="ctr"/>
          <a:lstStyle/>
          <a:p>
            <a:pPr algn="ctr"/>
            <a:endParaRPr lang="en-US" sz="2700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6911210" y="9485556"/>
            <a:ext cx="723036" cy="346301"/>
          </a:xfrm>
          <a:prstGeom prst="rect">
            <a:avLst/>
          </a:prstGeom>
        </p:spPr>
        <p:txBody>
          <a:bodyPr vert="horz" lIns="80678" tIns="40339" rIns="80678" bIns="40339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96CB93B-C569-4802-AF22-9A2B7C1E12C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8"/>
          <p:cNvSpPr txBox="1">
            <a:spLocks/>
          </p:cNvSpPr>
          <p:nvPr userDrawn="1"/>
        </p:nvSpPr>
        <p:spPr>
          <a:xfrm>
            <a:off x="2236640" y="8186241"/>
            <a:ext cx="6453336" cy="5555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319" rtl="0" eaLnBrk="1" latinLnBrk="0" hangingPunct="1">
              <a:lnSpc>
                <a:spcPts val="1272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rgbClr val="083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39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8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7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6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5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9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52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50"/>
              <a:t>Bram Claeys</a:t>
            </a:r>
          </a:p>
          <a:p>
            <a:r>
              <a:rPr lang="en-US" sz="1350"/>
              <a:t>Senior</a:t>
            </a:r>
            <a:r>
              <a:rPr lang="en-US" sz="1350" baseline="0"/>
              <a:t> Advisor</a:t>
            </a:r>
          </a:p>
          <a:p>
            <a:pPr marL="0" marR="0" lvl="0" indent="0" algn="l" defTabSz="1371661" rtl="0" eaLnBrk="1" fontAlgn="auto" latinLnBrk="0" hangingPunct="1">
              <a:lnSpc>
                <a:spcPts val="190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350"/>
              <a:t>Regulatory Assistance Project (RAP)</a:t>
            </a:r>
            <a:r>
              <a:rPr lang="en-US" sz="1350" baseline="30000"/>
              <a:t>®</a:t>
            </a:r>
          </a:p>
        </p:txBody>
      </p:sp>
      <p:sp>
        <p:nvSpPr>
          <p:cNvPr id="6" name="Text Placeholder 8"/>
          <p:cNvSpPr txBox="1">
            <a:spLocks/>
          </p:cNvSpPr>
          <p:nvPr userDrawn="1"/>
        </p:nvSpPr>
        <p:spPr>
          <a:xfrm>
            <a:off x="13436008" y="8161023"/>
            <a:ext cx="3863196" cy="7950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319" rtl="0" eaLnBrk="1" latinLnBrk="0" hangingPunct="1">
              <a:lnSpc>
                <a:spcPts val="1363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rgbClr val="083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39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8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7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6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5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9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52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50" b="0" i="0" u="none" strike="noStrike" kern="1200">
                <a:solidFill>
                  <a:srgbClr val="0B2F4E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32 474 594 670</a:t>
            </a:r>
          </a:p>
          <a:p>
            <a:r>
              <a:rPr lang="en-US" sz="1350" err="1"/>
              <a:t>bclaeys@raponline.org</a:t>
            </a:r>
            <a:endParaRPr lang="en-US" sz="1350"/>
          </a:p>
          <a:p>
            <a:pPr marL="0" marR="0" lvl="0" indent="0" algn="l" defTabSz="1371661" rtl="0" eaLnBrk="1" fontAlgn="auto" latinLnBrk="0" hangingPunct="1">
              <a:lnSpc>
                <a:spcPts val="204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350" baseline="0"/>
              <a:t>twitter: @</a:t>
            </a:r>
            <a:r>
              <a:rPr lang="en-US" sz="1350" baseline="0" err="1"/>
              <a:t>bramcla</a:t>
            </a:r>
            <a:endParaRPr lang="en-US" sz="1350" baseline="0"/>
          </a:p>
          <a:p>
            <a:r>
              <a:rPr lang="en-US" sz="1350" err="1"/>
              <a:t>raponline.org</a:t>
            </a:r>
            <a:endParaRPr lang="en-US" sz="1350"/>
          </a:p>
        </p:txBody>
      </p:sp>
      <p:sp>
        <p:nvSpPr>
          <p:cNvPr id="7" name="Text Placeholder 8"/>
          <p:cNvSpPr txBox="1">
            <a:spLocks/>
          </p:cNvSpPr>
          <p:nvPr userDrawn="1"/>
        </p:nvSpPr>
        <p:spPr>
          <a:xfrm>
            <a:off x="9176891" y="8173631"/>
            <a:ext cx="3822138" cy="53860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319" rtl="0" eaLnBrk="1" latinLnBrk="0" hangingPunct="1">
              <a:lnSpc>
                <a:spcPts val="1363"/>
              </a:lnSpc>
              <a:spcBef>
                <a:spcPts val="0"/>
              </a:spcBef>
              <a:buFont typeface="Arial" panose="020B0604020202020204" pitchFamily="34" charset="0"/>
              <a:buNone/>
              <a:defRPr sz="900" kern="1200" spc="0" baseline="0">
                <a:solidFill>
                  <a:srgbClr val="083050"/>
                </a:solidFill>
                <a:latin typeface="Arial"/>
                <a:ea typeface="STHeiti" panose="02010600040101010101" pitchFamily="2" charset="-128"/>
                <a:cs typeface="Arial"/>
              </a:defRPr>
            </a:lvl1pPr>
            <a:lvl2pPr marL="685739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8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7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6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5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9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52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50"/>
              <a:t>Rue</a:t>
            </a:r>
            <a:r>
              <a:rPr lang="en-US" sz="1350" baseline="0"/>
              <a:t> de la Science 23</a:t>
            </a:r>
          </a:p>
          <a:p>
            <a:r>
              <a:rPr lang="en-US" sz="1350" baseline="0"/>
              <a:t>B-1040 Brussels</a:t>
            </a:r>
          </a:p>
          <a:p>
            <a:r>
              <a:rPr lang="en-US" sz="1350" baseline="0"/>
              <a:t>Belgium</a:t>
            </a:r>
            <a:endParaRPr lang="en-US" sz="135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251364" y="8000136"/>
            <a:ext cx="6438612" cy="0"/>
          </a:xfrm>
          <a:prstGeom prst="line">
            <a:avLst/>
          </a:prstGeom>
          <a:ln>
            <a:solidFill>
              <a:srgbClr val="9BAD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9144001" y="8000136"/>
            <a:ext cx="3847538" cy="0"/>
          </a:xfrm>
          <a:prstGeom prst="line">
            <a:avLst/>
          </a:prstGeom>
          <a:ln>
            <a:solidFill>
              <a:srgbClr val="9BAD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13432281" y="8000136"/>
            <a:ext cx="3847538" cy="0"/>
          </a:xfrm>
          <a:prstGeom prst="line">
            <a:avLst/>
          </a:prstGeom>
          <a:ln>
            <a:solidFill>
              <a:srgbClr val="9BAD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12"/>
          <p:cNvSpPr txBox="1">
            <a:spLocks noChangeAspect="1"/>
          </p:cNvSpPr>
          <p:nvPr userDrawn="1"/>
        </p:nvSpPr>
        <p:spPr>
          <a:xfrm>
            <a:off x="988796" y="7990787"/>
            <a:ext cx="856088" cy="823087"/>
          </a:xfrm>
          <a:prstGeom prst="ellipse">
            <a:avLst/>
          </a:prstGeom>
          <a:blipFill>
            <a:blip r:embed="rId5"/>
            <a:stretch>
              <a:fillRect/>
            </a:stretch>
          </a:blipFill>
        </p:spPr>
        <p:txBody>
          <a:bodyPr lIns="121036" tIns="60518" rIns="121036" bIns="60518" anchor="ctr"/>
          <a:lstStyle>
            <a:lvl1pPr marL="0" indent="0" algn="l" defTabSz="9143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39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8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7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6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5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94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52" indent="-228579" algn="l" defTabSz="91431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500"/>
          </a:p>
        </p:txBody>
      </p:sp>
    </p:spTree>
    <p:extLst>
      <p:ext uri="{BB962C8B-B14F-4D97-AF65-F5344CB8AC3E}">
        <p14:creationId xmlns:p14="http://schemas.microsoft.com/office/powerpoint/2010/main" val="2462748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</p:sldLayoutIdLst>
  <p:hf hdr="0" ftr="0" dt="0"/>
  <p:txStyles>
    <p:titleStyle>
      <a:lvl1pPr algn="l" defTabSz="1371661" rtl="0" eaLnBrk="1" latinLnBrk="0" hangingPunct="1">
        <a:lnSpc>
          <a:spcPct val="90000"/>
        </a:lnSpc>
        <a:spcBef>
          <a:spcPct val="0"/>
        </a:spcBef>
        <a:buNone/>
        <a:defRPr sz="66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14" indent="-342914" algn="l" defTabSz="1371661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1" kern="1200">
          <a:solidFill>
            <a:schemeClr val="tx1"/>
          </a:solidFill>
          <a:latin typeface="+mn-lt"/>
          <a:ea typeface="+mn-ea"/>
          <a:cs typeface="+mn-cs"/>
        </a:defRPr>
      </a:lvl1pPr>
      <a:lvl2pPr marL="102874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7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406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23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206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89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727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555" indent="-342914" algn="l" defTabSz="137166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6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9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320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15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98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81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641" algn="l" defTabSz="1371661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1E1F57-DB89-4CC8-B980-F425ACEE4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0" y="547773"/>
            <a:ext cx="15773400" cy="1988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5239AC-052C-4FE6-83D2-5B494767A1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57300" y="2738860"/>
            <a:ext cx="15773400" cy="65280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A34784-74D8-4052-A98D-9CFDC7CC4A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57300" y="9535998"/>
            <a:ext cx="4114800" cy="547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071235-2BF4-4BF4-BB7F-E7421A7ED6AC}" type="datetimeFigureOut">
              <a:rPr lang="en-GB" smtClean="0"/>
              <a:t>14/1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809563-1FF3-4103-98F4-72524EF664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57900" y="9535998"/>
            <a:ext cx="6172200" cy="547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B7A2DC-EC99-4DD6-AF33-5B4E27FB6D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915900" y="9535998"/>
            <a:ext cx="4114800" cy="54777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13935D-D759-4C32-848F-3E1BB8781AE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9183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691041C-9E77-D842-AAE5-515B65D773C9}"/>
              </a:ext>
            </a:extLst>
          </p:cNvPr>
          <p:cNvSpPr/>
          <p:nvPr/>
        </p:nvSpPr>
        <p:spPr>
          <a:xfrm>
            <a:off x="0" y="9424455"/>
            <a:ext cx="18288000" cy="8641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70405" y="0"/>
            <a:ext cx="13073595" cy="1620250"/>
          </a:xfrm>
          <a:prstGeom prst="rect">
            <a:avLst/>
          </a:prstGeom>
        </p:spPr>
        <p:txBody>
          <a:bodyPr vert="horz" lIns="0" tIns="180000" rIns="0" bIns="180000" rtlCol="0" anchor="ctr">
            <a:normAutofit/>
          </a:bodyPr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71948" y="2145644"/>
            <a:ext cx="16200000" cy="65280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08000" y="9424452"/>
            <a:ext cx="1080000" cy="8641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25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8E16D21-2873-7F4D-BC1C-4DCC7B7156B8}" type="slidenum">
              <a:rPr lang="en-SI" smtClean="0"/>
              <a:pPr/>
              <a:t>‹#›</a:t>
            </a:fld>
            <a:endParaRPr lang="en-SI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C56792E-A1FB-BC4F-B5FD-E43FDCCB94F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51213" y="0"/>
            <a:ext cx="3308937" cy="162025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2DEC96-CFD0-C54C-AEEF-2574905C03C2}"/>
              </a:ext>
            </a:extLst>
          </p:cNvPr>
          <p:cNvCxnSpPr>
            <a:cxnSpLocks/>
          </p:cNvCxnSpPr>
          <p:nvPr/>
        </p:nvCxnSpPr>
        <p:spPr>
          <a:xfrm>
            <a:off x="1044000" y="1620250"/>
            <a:ext cx="162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1591B5B6-D938-0F47-BF55-D21DE155CC0B}"/>
              </a:ext>
            </a:extLst>
          </p:cNvPr>
          <p:cNvSpPr/>
          <p:nvPr userDrawn="1"/>
        </p:nvSpPr>
        <p:spPr>
          <a:xfrm>
            <a:off x="0" y="9424455"/>
            <a:ext cx="18288000" cy="8641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375F696-5CE6-CE46-AE30-00563537777A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651213" y="0"/>
            <a:ext cx="3308937" cy="162025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6EFC4A9-1E97-2044-9DB0-7D4F091944BB}"/>
              </a:ext>
            </a:extLst>
          </p:cNvPr>
          <p:cNvCxnSpPr>
            <a:cxnSpLocks/>
          </p:cNvCxnSpPr>
          <p:nvPr userDrawn="1"/>
        </p:nvCxnSpPr>
        <p:spPr>
          <a:xfrm>
            <a:off x="1044000" y="1620250"/>
            <a:ext cx="162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8851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  <p:sldLayoutId id="2147483962" r:id="rId19"/>
    <p:sldLayoutId id="2147483963" r:id="rId20"/>
    <p:sldLayoutId id="2147483964" r:id="rId21"/>
    <p:sldLayoutId id="2147483965" r:id="rId22"/>
    <p:sldLayoutId id="2147483966" r:id="rId23"/>
    <p:sldLayoutId id="2147483967" r:id="rId24"/>
    <p:sldLayoutId id="2147483968" r:id="rId25"/>
  </p:sldLayoutIdLst>
  <p:hf hdr="0" ftr="0" dt="0"/>
  <p:txStyles>
    <p:titleStyle>
      <a:lvl1pPr algn="r" defTabSz="1371600" rtl="0" eaLnBrk="1" latinLnBrk="0" hangingPunct="1">
        <a:lnSpc>
          <a:spcPct val="90000"/>
        </a:lnSpc>
        <a:spcBef>
          <a:spcPct val="0"/>
        </a:spcBef>
        <a:buNone/>
        <a:defRPr sz="45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Clr>
          <a:srgbClr val="3678BD"/>
        </a:buClr>
        <a:buFont typeface="Wingdings" pitchFamily="2" charset="2"/>
        <a:buChar char="§"/>
        <a:defRPr sz="3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Clr>
          <a:srgbClr val="3678BD"/>
        </a:buClr>
        <a:buFont typeface="Wingdings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Clr>
          <a:srgbClr val="3678BD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Clr>
          <a:srgbClr val="3678BD"/>
        </a:buClr>
        <a:buFont typeface="System Font Regular"/>
        <a:buChar char="-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Clr>
          <a:srgbClr val="3678BD"/>
        </a:buClr>
        <a:buFont typeface="System Font Regular"/>
        <a:buChar char="-"/>
        <a:defRPr sz="21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691041C-9E77-D842-AAE5-515B65D773C9}"/>
              </a:ext>
            </a:extLst>
          </p:cNvPr>
          <p:cNvSpPr/>
          <p:nvPr userDrawn="1"/>
        </p:nvSpPr>
        <p:spPr>
          <a:xfrm>
            <a:off x="0" y="9424455"/>
            <a:ext cx="18288000" cy="8641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I" sz="27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70405" y="0"/>
            <a:ext cx="13073595" cy="1620250"/>
          </a:xfrm>
          <a:prstGeom prst="rect">
            <a:avLst/>
          </a:prstGeom>
        </p:spPr>
        <p:txBody>
          <a:bodyPr vert="horz" lIns="0" tIns="180000" rIns="0" bIns="180000" rtlCol="0" anchor="ctr">
            <a:normAutofit/>
          </a:bodyPr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71948" y="2145644"/>
            <a:ext cx="16200000" cy="65280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08000" y="9424452"/>
            <a:ext cx="1080000" cy="8641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25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8E16D21-2873-7F4D-BC1C-4DCC7B7156B8}" type="slidenum">
              <a:rPr lang="en-SI" smtClean="0"/>
              <a:pPr/>
              <a:t>‹#›</a:t>
            </a:fld>
            <a:endParaRPr lang="en-SI"/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C56792E-A1FB-BC4F-B5FD-E43FDCCB94F8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651213" y="0"/>
            <a:ext cx="3308937" cy="162025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2DEC96-CFD0-C54C-AEEF-2574905C03C2}"/>
              </a:ext>
            </a:extLst>
          </p:cNvPr>
          <p:cNvCxnSpPr>
            <a:cxnSpLocks/>
          </p:cNvCxnSpPr>
          <p:nvPr userDrawn="1"/>
        </p:nvCxnSpPr>
        <p:spPr>
          <a:xfrm>
            <a:off x="1044000" y="1620250"/>
            <a:ext cx="162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8027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</p:sldLayoutIdLst>
  <p:hf hdr="0" ftr="0" dt="0"/>
  <p:txStyles>
    <p:titleStyle>
      <a:lvl1pPr algn="r" defTabSz="1371600" rtl="0" eaLnBrk="1" latinLnBrk="0" hangingPunct="1">
        <a:lnSpc>
          <a:spcPct val="90000"/>
        </a:lnSpc>
        <a:spcBef>
          <a:spcPct val="0"/>
        </a:spcBef>
        <a:buNone/>
        <a:defRPr sz="45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Clr>
          <a:schemeClr val="tx2"/>
        </a:buClr>
        <a:buFont typeface="Wingdings" pitchFamily="2" charset="2"/>
        <a:buChar char="§"/>
        <a:defRPr sz="3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Wingdings" pitchFamily="2" charset="2"/>
        <a:buChar char="§"/>
        <a:defRPr sz="27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Clr>
          <a:schemeClr val="tx2"/>
        </a:buClr>
        <a:buFont typeface="System Font Regular"/>
        <a:buChar char="-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Clr>
          <a:schemeClr val="tx1"/>
        </a:buClr>
        <a:buFont typeface="System Font Regular"/>
        <a:buChar char="-"/>
        <a:defRPr sz="21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931532" y="662793"/>
            <a:ext cx="12442071" cy="1463993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r>
              <a:rPr lang="en-GB" noProof="1"/>
              <a:t>Cliquez</a:t>
            </a:r>
            <a:r>
              <a:rPr lang="fr-FR"/>
              <a:t>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14400" y="2400677"/>
            <a:ext cx="16459200" cy="6789993"/>
          </a:xfrm>
          <a:prstGeom prst="rect">
            <a:avLst/>
          </a:prstGeom>
        </p:spPr>
        <p:txBody>
          <a:bodyPr vert="horz" lIns="91435" tIns="45718" rIns="91435" bIns="45718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914400" y="9536004"/>
            <a:ext cx="4267200" cy="547772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l">
              <a:defRPr sz="1650" baseline="0">
                <a:solidFill>
                  <a:schemeClr val="accent4"/>
                </a:solidFill>
                <a:latin typeface="Arial" pitchFamily="34" charset="0"/>
              </a:defRPr>
            </a:lvl1pPr>
          </a:lstStyle>
          <a:p>
            <a:fld id="{1CF0C82D-C199-4409-B31F-F136E47AB0E5}" type="datetime1">
              <a:rPr lang="en-GB" smtClean="0"/>
              <a:t>14/12/2022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248402" y="9536004"/>
            <a:ext cx="5791200" cy="547772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3106400" y="9536004"/>
            <a:ext cx="4267200" cy="547772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7B0D33-A76D-4554-83C3-3FE932C967D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5308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</p:sldLayoutIdLst>
  <p:hf sldNum="0" hdr="0" ftr="0"/>
  <p:txStyles>
    <p:titleStyle>
      <a:lvl1pPr algn="l" defTabSz="1371530" rtl="0" eaLnBrk="1" latinLnBrk="0" hangingPunct="1">
        <a:spcBef>
          <a:spcPct val="0"/>
        </a:spcBef>
        <a:buNone/>
        <a:defRPr sz="3600" b="1" kern="1200">
          <a:solidFill>
            <a:srgbClr val="00457D"/>
          </a:solidFill>
          <a:latin typeface="+mj-lt"/>
          <a:ea typeface="+mj-ea"/>
          <a:cs typeface="+mj-cs"/>
        </a:defRPr>
      </a:lvl1pPr>
    </p:titleStyle>
    <p:bodyStyle>
      <a:lvl1pPr marL="379674" indent="-303740" algn="l" defTabSz="1371530" rtl="0" eaLnBrk="1" latinLnBrk="0" hangingPunct="1">
        <a:spcBef>
          <a:spcPts val="0"/>
        </a:spcBef>
        <a:buClr>
          <a:schemeClr val="tx2"/>
        </a:buClr>
        <a:buSzPct val="120000"/>
        <a:buFont typeface="Arial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1114368" indent="-428604" algn="l" defTabSz="137153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►"/>
        <a:defRPr sz="3000" kern="1200" baseline="0">
          <a:solidFill>
            <a:schemeClr val="accent6"/>
          </a:solidFill>
          <a:latin typeface="Arial" pitchFamily="34" charset="0"/>
          <a:ea typeface="+mn-ea"/>
          <a:cs typeface="+mn-cs"/>
        </a:defRPr>
      </a:lvl2pPr>
      <a:lvl3pPr marL="1714413" indent="-227805" algn="l" defTabSz="1371530" rtl="0" eaLnBrk="1" latinLnBrk="0" hangingPunct="1">
        <a:spcBef>
          <a:spcPct val="20000"/>
        </a:spcBef>
        <a:buFont typeface="Arial" pitchFamily="34" charset="0"/>
        <a:buChar char="•"/>
        <a:defRPr sz="2700" kern="1200" baseline="0">
          <a:solidFill>
            <a:schemeClr val="accent6"/>
          </a:solidFill>
          <a:latin typeface="Arial" pitchFamily="34" charset="0"/>
          <a:ea typeface="+mn-ea"/>
          <a:cs typeface="+mn-cs"/>
        </a:defRPr>
      </a:lvl3pPr>
      <a:lvl4pPr marL="2400177" indent="-342882" algn="l" defTabSz="1371530" rtl="0" eaLnBrk="1" latinLnBrk="0" hangingPunct="1">
        <a:spcBef>
          <a:spcPct val="20000"/>
        </a:spcBef>
        <a:buFont typeface="Arial" pitchFamily="34" charset="0"/>
        <a:buChar char="–"/>
        <a:defRPr sz="2400" kern="1200" baseline="0">
          <a:solidFill>
            <a:schemeClr val="accent6"/>
          </a:solidFill>
          <a:latin typeface="Arial" pitchFamily="34" charset="0"/>
          <a:ea typeface="+mn-ea"/>
          <a:cs typeface="+mn-cs"/>
        </a:defRPr>
      </a:lvl4pPr>
      <a:lvl5pPr marL="3085943" indent="-342882" algn="l" defTabSz="1371530" rtl="0" eaLnBrk="1" latinLnBrk="0" hangingPunct="1">
        <a:spcBef>
          <a:spcPct val="20000"/>
        </a:spcBef>
        <a:buFont typeface="Arial" pitchFamily="34" charset="0"/>
        <a:buChar char="»"/>
        <a:defRPr sz="2100" kern="1200" baseline="0">
          <a:solidFill>
            <a:schemeClr val="accent6"/>
          </a:solidFill>
          <a:latin typeface="Arial" pitchFamily="34" charset="0"/>
          <a:ea typeface="+mn-ea"/>
          <a:cs typeface="+mn-cs"/>
        </a:defRPr>
      </a:lvl5pPr>
      <a:lvl6pPr marL="3771707" indent="-342882" algn="l" defTabSz="137153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472" indent="-342882" algn="l" defTabSz="137153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238" indent="-342882" algn="l" defTabSz="137153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002" indent="-342882" algn="l" defTabSz="1371530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530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295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59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8825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590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354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120" algn="l" defTabSz="137153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0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youtu.be/Z3lMFzDLNmI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3132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In turn, impacting record high retail prices</a:t>
            </a:r>
          </a:p>
        </p:txBody>
      </p:sp>
      <p:sp>
        <p:nvSpPr>
          <p:cNvPr id="6" name="Rectangle 5"/>
          <p:cNvSpPr/>
          <p:nvPr/>
        </p:nvSpPr>
        <p:spPr>
          <a:xfrm>
            <a:off x="759343" y="8584872"/>
            <a:ext cx="1664651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/>
            <a:r>
              <a:rPr lang="en-GB" sz="2400" b="1">
                <a:solidFill>
                  <a:srgbClr val="000000"/>
                </a:solidFill>
                <a:latin typeface="Arial" panose="020B0604020202020204"/>
              </a:rPr>
              <a:t>Notwithstanding various government interventions, final retail prices saw steep increase.</a:t>
            </a:r>
            <a:endParaRPr lang="en-GB" sz="2400" b="1">
              <a:solidFill>
                <a:srgbClr val="FF0000"/>
              </a:solidFill>
              <a:latin typeface="Arial" panose="020B0604020202020204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/>
        </p:nvGraphicFramePr>
        <p:xfrm>
          <a:off x="890911" y="2352158"/>
          <a:ext cx="16615955" cy="6038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>
          <a:xfrm>
            <a:off x="306976" y="9402468"/>
            <a:ext cx="1097768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n-GB" sz="15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Median is the value separating the higher half from the lower half of a data sample, a population, or a probability distribution. </a:t>
            </a:r>
            <a:r>
              <a:rPr lang="en-GB" sz="2700">
                <a:solidFill>
                  <a:srgbClr val="000000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306975" y="9896899"/>
            <a:ext cx="668953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ts val="900"/>
              </a:spcBef>
              <a:spcAft>
                <a:spcPts val="1800"/>
              </a:spcAft>
            </a:pPr>
            <a:r>
              <a:rPr lang="en-GB" sz="1500" i="1" spc="-8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Source: </a:t>
            </a:r>
            <a:r>
              <a:rPr lang="en-GB" sz="1500" i="1" spc="-8" err="1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VaasaETT</a:t>
            </a:r>
            <a:endParaRPr lang="en-GB" sz="1500" i="1" spc="-8">
              <a:solidFill>
                <a:srgbClr val="000000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8949186" y="3850980"/>
            <a:ext cx="0" cy="930821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5251615" y="3333973"/>
            <a:ext cx="0" cy="768683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14038424" y="2806988"/>
            <a:ext cx="2495282" cy="482529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/>
            <a:r>
              <a:rPr lang="en-GB" sz="1350">
                <a:solidFill>
                  <a:sysClr val="windowText" lastClr="000000"/>
                </a:solidFill>
                <a:latin typeface="Arial" panose="020B0604020202020204"/>
              </a:rPr>
              <a:t>Russia’s invasion of Ukraine</a:t>
            </a:r>
            <a:endParaRPr lang="en-US" sz="1350">
              <a:solidFill>
                <a:sysClr val="windowText" lastClr="000000"/>
              </a:solidFill>
              <a:latin typeface="Arial" panose="020B0604020202020204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747628" y="3289517"/>
            <a:ext cx="2495282" cy="482529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/>
            <a:r>
              <a:rPr lang="en-GB" sz="1350">
                <a:solidFill>
                  <a:sysClr val="windowText" lastClr="000000"/>
                </a:solidFill>
                <a:latin typeface="Arial" panose="020B0604020202020204"/>
              </a:rPr>
              <a:t>Acceleration of Covid-19</a:t>
            </a:r>
            <a:endParaRPr lang="en-US" sz="1350">
              <a:solidFill>
                <a:sysClr val="windowText" lastClr="000000"/>
              </a:solidFill>
              <a:latin typeface="Arial" panose="020B0604020202020204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90911" y="1771405"/>
            <a:ext cx="16674215" cy="494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71600">
              <a:lnSpc>
                <a:spcPct val="120000"/>
              </a:lnSpc>
              <a:spcBef>
                <a:spcPts val="1500"/>
              </a:spcBef>
              <a:buClr>
                <a:srgbClr val="004FEE"/>
              </a:buClr>
            </a:pPr>
            <a:r>
              <a:rPr lang="en-GB"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EU electricity and gas prices for median* EU household consumer</a:t>
            </a:r>
          </a:p>
        </p:txBody>
      </p:sp>
    </p:spTree>
    <p:extLst>
      <p:ext uri="{BB962C8B-B14F-4D97-AF65-F5344CB8AC3E}">
        <p14:creationId xmlns:p14="http://schemas.microsoft.com/office/powerpoint/2010/main" val="7981469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4050"/>
              <a:t>Energy expenditure impacting household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64BD9D-32DA-62B8-40C6-12444C7EDA8D}"/>
              </a:ext>
            </a:extLst>
          </p:cNvPr>
          <p:cNvSpPr txBox="1"/>
          <p:nvPr/>
        </p:nvSpPr>
        <p:spPr>
          <a:xfrm>
            <a:off x="73535" y="9641775"/>
            <a:ext cx="443211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371600">
              <a:defRPr/>
            </a:pPr>
            <a:r>
              <a:rPr lang="en-GB" sz="1500">
                <a:solidFill>
                  <a:prstClr val="black"/>
                </a:solidFill>
                <a:latin typeface="Arial" panose="020B0604020202020204"/>
              </a:rPr>
              <a:t>Source: </a:t>
            </a:r>
            <a:r>
              <a:rPr lang="en-GB" sz="1500" i="1" err="1">
                <a:solidFill>
                  <a:prstClr val="black"/>
                </a:solidFill>
                <a:latin typeface="Arial" panose="020B0604020202020204"/>
              </a:rPr>
              <a:t>VaasaETT</a:t>
            </a:r>
            <a:r>
              <a:rPr lang="en-GB" sz="1500" i="1">
                <a:solidFill>
                  <a:prstClr val="black"/>
                </a:solidFill>
                <a:latin typeface="Arial" panose="020B0604020202020204"/>
              </a:rPr>
              <a:t>, Eurostat. Analysis: VaasaET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73127" y="8267752"/>
            <a:ext cx="16544046" cy="1156040"/>
          </a:xfrm>
          <a:prstGeom prst="rect">
            <a:avLst/>
          </a:prstGeom>
        </p:spPr>
        <p:txBody>
          <a:bodyPr vert="horz" wrap="square" lIns="137160" tIns="68580" rIns="137160" bIns="68580" rtlCol="0" anchor="t">
            <a:noAutofit/>
          </a:bodyPr>
          <a:lstStyle/>
          <a:p>
            <a:pPr algn="ctr" defTabSz="685800"/>
            <a:r>
              <a:rPr lang="en-GB" sz="2400" b="1">
                <a:solidFill>
                  <a:srgbClr val="000000"/>
                </a:solidFill>
                <a:latin typeface="Arial" panose="020B0604020202020204"/>
              </a:rPr>
              <a:t>By way of example, gas expenditure of households significantly increased (more than 10% in 9 countries). Electricity expenditure accounts for more than 5% of household income in 9 countries.</a:t>
            </a:r>
          </a:p>
        </p:txBody>
      </p:sp>
      <p:graphicFrame>
        <p:nvGraphicFramePr>
          <p:cNvPr id="8" name="Chart 7"/>
          <p:cNvGraphicFramePr>
            <a:graphicFrameLocks/>
          </p:cNvGraphicFramePr>
          <p:nvPr/>
        </p:nvGraphicFramePr>
        <p:xfrm>
          <a:off x="877186" y="2352689"/>
          <a:ext cx="16366814" cy="5232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8"/>
          <p:cNvSpPr/>
          <p:nvPr/>
        </p:nvSpPr>
        <p:spPr>
          <a:xfrm>
            <a:off x="890911" y="1771405"/>
            <a:ext cx="16674215" cy="494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71600">
              <a:lnSpc>
                <a:spcPct val="120000"/>
              </a:lnSpc>
              <a:spcBef>
                <a:spcPts val="1500"/>
              </a:spcBef>
              <a:buClr>
                <a:srgbClr val="004FEE"/>
              </a:buClr>
            </a:pPr>
            <a:r>
              <a:rPr lang="en-GB"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hold expenditure in gas and electricity as a total of household budget</a:t>
            </a:r>
          </a:p>
        </p:txBody>
      </p:sp>
    </p:spTree>
    <p:extLst>
      <p:ext uri="{BB962C8B-B14F-4D97-AF65-F5344CB8AC3E}">
        <p14:creationId xmlns:p14="http://schemas.microsoft.com/office/powerpoint/2010/main" val="19723871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560" y="794"/>
            <a:ext cx="12945291" cy="1620000"/>
          </a:xfrm>
        </p:spPr>
        <p:txBody>
          <a:bodyPr>
            <a:normAutofit/>
          </a:bodyPr>
          <a:lstStyle/>
          <a:p>
            <a:r>
              <a:rPr lang="en-GB"/>
              <a:t>Ongoing assistance to vulnerable consum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17167" y="8710316"/>
            <a:ext cx="12139173" cy="7134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sz="2400" b="1"/>
              <a:t>To date EUR 500 </a:t>
            </a:r>
            <a:r>
              <a:rPr lang="en-GB" sz="2400" b="1" err="1"/>
              <a:t>bn</a:t>
            </a:r>
            <a:r>
              <a:rPr lang="en-GB" sz="2400" b="1"/>
              <a:t>+ spent on support measures for consumers.</a:t>
            </a:r>
            <a:endParaRPr lang="en-GB" sz="2400" b="1" u="sng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7167" y="2330477"/>
            <a:ext cx="11536815" cy="632513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09150" y="9533209"/>
            <a:ext cx="861415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n-GB" sz="1500" i="1">
                <a:solidFill>
                  <a:srgbClr val="000000"/>
                </a:solidFill>
                <a:latin typeface="Arial" panose="020B0604020202020204"/>
              </a:rPr>
              <a:t>Source: ACER-CEER Market Monitoring Report (Retail and Consumer Protection volume); Bruegel</a:t>
            </a:r>
            <a:endParaRPr lang="en-GB" sz="15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17167" y="1740195"/>
            <a:ext cx="8118602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t">
            <a:spAutoFit/>
          </a:bodyPr>
          <a:lstStyle/>
          <a:p>
            <a:pPr defTabSz="685800">
              <a:defRPr/>
            </a:pPr>
            <a:r>
              <a:rPr lang="en-GB" sz="2400" b="1">
                <a:solidFill>
                  <a:srgbClr val="000000"/>
                </a:solidFill>
                <a:latin typeface="Arial" panose="020B0604020202020204"/>
              </a:rPr>
              <a:t>Support measures provided to consumers – 2022</a:t>
            </a:r>
            <a:endParaRPr lang="en-GB" sz="2400" b="1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13164314" y="8194195"/>
            <a:ext cx="3277926" cy="7134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800"/>
              <a:t># of countries</a:t>
            </a:r>
            <a:endParaRPr lang="en-GB" sz="1800" u="sng"/>
          </a:p>
        </p:txBody>
      </p:sp>
    </p:spTree>
    <p:extLst>
      <p:ext uri="{BB962C8B-B14F-4D97-AF65-F5344CB8AC3E}">
        <p14:creationId xmlns:p14="http://schemas.microsoft.com/office/powerpoint/2010/main" val="2464352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21DCB-E284-A140-8103-86F48AF22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4675" y="794"/>
            <a:ext cx="9092771" cy="1620000"/>
          </a:xfrm>
        </p:spPr>
        <p:txBody>
          <a:bodyPr>
            <a:normAutofit/>
          </a:bodyPr>
          <a:lstStyle/>
          <a:p>
            <a:r>
              <a:rPr lang="en-GB" sz="4050"/>
              <a:t> Poll question</a:t>
            </a:r>
            <a:endParaRPr lang="en-SI" sz="405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2047" y="3370192"/>
            <a:ext cx="3955953" cy="2963147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ABFA91E-725F-324D-AAEF-B9FAD3AE23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9178" y="1837879"/>
            <a:ext cx="11379345" cy="6516776"/>
          </a:xfrm>
          <a:solidFill>
            <a:schemeClr val="bg1">
              <a:alpha val="80000"/>
            </a:schemeClr>
          </a:solidFill>
        </p:spPr>
        <p:txBody>
          <a:bodyPr>
            <a:noAutofit/>
          </a:bodyPr>
          <a:lstStyle/>
          <a:p>
            <a:pPr lvl="0"/>
            <a:r>
              <a:rPr lang="en-GB" b="1"/>
              <a:t>Question: has the EU done enough to address the high energy prices?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Yes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No, it should have done more</a:t>
            </a:r>
          </a:p>
          <a:p>
            <a:pPr marL="514350" indent="-514350">
              <a:buFont typeface="+mj-lt"/>
              <a:buAutoNum type="arabicPeriod"/>
            </a:pPr>
            <a:r>
              <a:rPr lang="en-GB"/>
              <a:t>No, it should have done less</a:t>
            </a:r>
          </a:p>
          <a:p>
            <a:pPr marL="514350" indent="-514350">
              <a:buFont typeface="+mj-lt"/>
              <a:buAutoNum type="arabicPeriod"/>
            </a:pPr>
            <a:endParaRPr lang="en-GB"/>
          </a:p>
          <a:p>
            <a:pPr marL="514350" indent="-514350">
              <a:buFont typeface="+mj-lt"/>
              <a:buAutoNum type="arabicPeriod"/>
            </a:pPr>
            <a:endParaRPr lang="en-GB"/>
          </a:p>
          <a:p>
            <a:pPr marL="1200150" lvl="1" indent="-514350">
              <a:buFont typeface="+mj-lt"/>
              <a:buAutoNum type="arabicPeriod"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1078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2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27">
            <a:extLst>
              <a:ext uri="{FF2B5EF4-FFF2-40B4-BE49-F238E27FC236}">
                <a16:creationId xmlns:a16="http://schemas.microsoft.com/office/drawing/2014/main" id="{86FAEDBE-A2EC-A957-4FA8-E5358331F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Emergency Measures: How to cope with high energy prices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FF4B61D0-9742-0F27-E0F9-FE81B769D6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7122" y="3674693"/>
            <a:ext cx="11473840" cy="547772"/>
          </a:xfrm>
        </p:spPr>
        <p:txBody>
          <a:bodyPr/>
          <a:lstStyle/>
          <a:p>
            <a:pPr>
              <a:buNone/>
            </a:pPr>
            <a:r>
              <a:rPr lang="en-GB" sz="3600"/>
              <a:t>Questions from the audience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FF3BCEE4-2A5B-76C0-B40D-28B345935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/>
              <a:t>SESSION ONE</a:t>
            </a:r>
          </a:p>
        </p:txBody>
      </p:sp>
    </p:spTree>
    <p:extLst>
      <p:ext uri="{BB962C8B-B14F-4D97-AF65-F5344CB8AC3E}">
        <p14:creationId xmlns:p14="http://schemas.microsoft.com/office/powerpoint/2010/main" val="39116121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27">
            <a:extLst>
              <a:ext uri="{FF2B5EF4-FFF2-40B4-BE49-F238E27FC236}">
                <a16:creationId xmlns:a16="http://schemas.microsoft.com/office/drawing/2014/main" id="{86FAEDBE-A2EC-A957-4FA8-E5358331F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/>
              <a:t>See you again in 20 minut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FF3BCEE4-2A5B-76C0-B40D-28B345935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/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23897612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27">
            <a:extLst>
              <a:ext uri="{FF2B5EF4-FFF2-40B4-BE49-F238E27FC236}">
                <a16:creationId xmlns:a16="http://schemas.microsoft.com/office/drawing/2014/main" id="{86FAEDBE-A2EC-A957-4FA8-E5358331F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997" y="1360083"/>
            <a:ext cx="11473840" cy="1656689"/>
          </a:xfrm>
        </p:spPr>
        <p:txBody>
          <a:bodyPr>
            <a:normAutofit fontScale="90000"/>
          </a:bodyPr>
          <a:lstStyle/>
          <a:p>
            <a:r>
              <a:rPr lang="en-GB"/>
              <a:t>Market Design: Long-term adjustments or tweaks?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FF4B61D0-9742-0F27-E0F9-FE81B769D6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8546" y="3303323"/>
            <a:ext cx="13644203" cy="1450036"/>
          </a:xfrm>
        </p:spPr>
        <p:txBody>
          <a:bodyPr/>
          <a:lstStyle/>
          <a:p>
            <a:pPr lvl="2"/>
            <a:r>
              <a:rPr lang="en-GB" sz="2400"/>
              <a:t>Moderated by</a:t>
            </a:r>
          </a:p>
          <a:p>
            <a:r>
              <a:rPr lang="en-GB" sz="2800"/>
              <a:t>Annamaria </a:t>
            </a:r>
            <a:r>
              <a:rPr lang="en-GB" sz="2800" err="1"/>
              <a:t>Marchi</a:t>
            </a:r>
            <a:endParaRPr lang="en-GB" sz="2800"/>
          </a:p>
          <a:p>
            <a:pPr lvl="1">
              <a:buNone/>
            </a:pPr>
            <a:r>
              <a:rPr lang="en-GB"/>
              <a:t>Deputy head of unit, internal Energy market (ENER.C.3), DG ENER, European Commission</a:t>
            </a:r>
            <a:br>
              <a:rPr lang="en-GB"/>
            </a:br>
            <a:br>
              <a:rPr lang="en-GB" sz="1950"/>
            </a:br>
            <a:endParaRPr lang="en-GB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FF3BCEE4-2A5B-76C0-B40D-28B345935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09997" y="726934"/>
            <a:ext cx="11473840" cy="633149"/>
          </a:xfrm>
        </p:spPr>
        <p:txBody>
          <a:bodyPr/>
          <a:lstStyle/>
          <a:p>
            <a:r>
              <a:rPr lang="en-GB"/>
              <a:t>SESSION two</a:t>
            </a:r>
          </a:p>
        </p:txBody>
      </p:sp>
      <p:sp>
        <p:nvSpPr>
          <p:cNvPr id="4" name="Espace réservé du texte 18">
            <a:extLst>
              <a:ext uri="{FF2B5EF4-FFF2-40B4-BE49-F238E27FC236}">
                <a16:creationId xmlns:a16="http://schemas.microsoft.com/office/drawing/2014/main" id="{F5FEDB2A-3DA5-F22A-A59A-618A0A11ED8D}"/>
              </a:ext>
            </a:extLst>
          </p:cNvPr>
          <p:cNvSpPr txBox="1">
            <a:spLocks/>
          </p:cNvSpPr>
          <p:nvPr/>
        </p:nvSpPr>
        <p:spPr>
          <a:xfrm>
            <a:off x="738545" y="5039911"/>
            <a:ext cx="13644203" cy="4916890"/>
          </a:xfrm>
          <a:prstGeom prst="rect">
            <a:avLst/>
          </a:prstGeom>
        </p:spPr>
        <p:txBody>
          <a:bodyPr vert="horz" wrap="none" lIns="0" tIns="0" rIns="91440" bIns="45720" rtlCol="0" anchor="t" anchorCtr="0">
            <a:noAutofit/>
          </a:bodyPr>
          <a:lstStyle>
            <a:lvl1pPr marL="193246" indent="0" algn="l" defTabSz="137160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BCCEE7"/>
              </a:buClr>
              <a:buSzPct val="25000"/>
              <a:buFont typeface="Arial" panose="020B0604020202020204" pitchFamily="34" charset="0"/>
              <a:buChar char="•"/>
              <a:tabLst/>
              <a:defRPr sz="3812" b="0" kern="120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12570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BCCEE7"/>
              </a:buClr>
              <a:buSzPct val="50000"/>
              <a:buFont typeface="Arial" panose="020B0604020202020204" pitchFamily="34" charset="0"/>
              <a:buChar char="•"/>
              <a:tabLst/>
              <a:defRPr sz="1879" b="0" kern="1200" cap="all" baseline="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31895" indent="0" algn="l" defTabSz="1371600" rtl="0" eaLnBrk="1" latinLnBrk="0" hangingPunct="1">
              <a:lnSpc>
                <a:spcPct val="90000"/>
              </a:lnSpc>
              <a:spcBef>
                <a:spcPts val="645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1950" b="0" kern="120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009707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344" b="1" kern="120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679612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344" b="1" kern="120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49511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34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19412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34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89315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34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59216" indent="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344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Arial" panose="020B0604020202020204" pitchFamily="34" charset="0"/>
              <a:buNone/>
            </a:pPr>
            <a:r>
              <a:rPr lang="en-GB" sz="2400" cap="none"/>
              <a:t>Session Two Panellists</a:t>
            </a:r>
            <a:endParaRPr lang="en-GB" sz="2400"/>
          </a:p>
          <a:p>
            <a:pPr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GB" sz="2800"/>
              <a:t>Christine Materazzi-Wagner</a:t>
            </a:r>
            <a:br>
              <a:rPr lang="en-BE" sz="2800"/>
            </a:br>
            <a:r>
              <a:rPr lang="en-GB" sz="1880"/>
              <a:t>ACER/CEER ELECTRICITY WORKING GROUP CHAIR</a:t>
            </a:r>
            <a:endParaRPr lang="en-BE" sz="1880"/>
          </a:p>
          <a:p>
            <a:pPr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GB" sz="2800" err="1"/>
              <a:t>Kjell</a:t>
            </a:r>
            <a:r>
              <a:rPr lang="en-GB" sz="2800"/>
              <a:t> Arne </a:t>
            </a:r>
            <a:r>
              <a:rPr lang="en-GB" sz="2800" err="1"/>
              <a:t>Bramsnes</a:t>
            </a:r>
            <a:br>
              <a:rPr lang="en-BE" sz="2800"/>
            </a:br>
            <a:r>
              <a:rPr lang="en-GB" sz="1880"/>
              <a:t>CHAIR OF MARKET COMMITTEE, ENTSO-E</a:t>
            </a:r>
          </a:p>
          <a:p>
            <a:pPr>
              <a:lnSpc>
                <a:spcPct val="100000"/>
              </a:lnSpc>
            </a:pPr>
            <a:r>
              <a:rPr lang="en-GB" sz="2800"/>
              <a:t>Mark Copley</a:t>
            </a:r>
            <a:br>
              <a:rPr lang="en-BE" sz="2800"/>
            </a:br>
            <a:r>
              <a:rPr lang="en-GB" sz="1880"/>
              <a:t>CEO, EFET</a:t>
            </a:r>
          </a:p>
          <a:p>
            <a:pPr>
              <a:lnSpc>
                <a:spcPct val="100000"/>
              </a:lnSpc>
            </a:pPr>
            <a:r>
              <a:rPr lang="en-GB" sz="2800"/>
              <a:t>Bram Claeys</a:t>
            </a:r>
            <a:br>
              <a:rPr lang="en-BE" sz="2800"/>
            </a:br>
            <a:r>
              <a:rPr lang="en-GB" sz="1880"/>
              <a:t>SENIOR ADVISOR POWER MARKETS, RAP</a:t>
            </a:r>
          </a:p>
          <a:p>
            <a:pPr>
              <a:lnSpc>
                <a:spcPct val="100000"/>
              </a:lnSpc>
            </a:pPr>
            <a:r>
              <a:rPr lang="en-GB" sz="2800"/>
              <a:t>Rafael Gómez-Elvira González</a:t>
            </a:r>
            <a:br>
              <a:rPr lang="en-BE" sz="2800"/>
            </a:br>
            <a:r>
              <a:rPr lang="en-GB" sz="1880"/>
              <a:t>CHAIR</a:t>
            </a:r>
            <a:r>
              <a:rPr lang="en-BE" sz="1880"/>
              <a:t>, </a:t>
            </a:r>
            <a:r>
              <a:rPr lang="en-GB" sz="1880"/>
              <a:t>NEMO COMMITTEE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4005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>
            <a:extLst>
              <a:ext uri="{FF2B5EF4-FFF2-40B4-BE49-F238E27FC236}">
                <a16:creationId xmlns:a16="http://schemas.microsoft.com/office/drawing/2014/main" id="{A915D2A1-A7F9-97D1-287A-A271BDDF86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7497" y="6656463"/>
            <a:ext cx="13102697" cy="2278730"/>
          </a:xfrm>
        </p:spPr>
        <p:txBody>
          <a:bodyPr>
            <a:noAutofit/>
          </a:bodyPr>
          <a:lstStyle/>
          <a:p>
            <a:r>
              <a:rPr lang="en-GB" sz="6330"/>
              <a:t>CEER Annual Conference</a:t>
            </a:r>
            <a:br>
              <a:rPr lang="en-GB" sz="6330">
                <a:solidFill>
                  <a:schemeClr val="accent1"/>
                </a:solidFill>
              </a:rPr>
            </a:br>
            <a:r>
              <a:rPr lang="de-DE" sz="6330" err="1">
                <a:solidFill>
                  <a:schemeClr val="accent1"/>
                </a:solidFill>
              </a:rPr>
              <a:t>Electricity</a:t>
            </a:r>
            <a:r>
              <a:rPr lang="de-DE" sz="6330">
                <a:solidFill>
                  <a:schemeClr val="accent1"/>
                </a:solidFill>
              </a:rPr>
              <a:t> Market Design</a:t>
            </a:r>
            <a:br>
              <a:rPr lang="en-GB" sz="6330"/>
            </a:br>
            <a:endParaRPr lang="en-GB" sz="6330"/>
          </a:p>
        </p:txBody>
      </p:sp>
      <p:sp>
        <p:nvSpPr>
          <p:cNvPr id="9" name="Sous-titre 2">
            <a:extLst>
              <a:ext uri="{FF2B5EF4-FFF2-40B4-BE49-F238E27FC236}">
                <a16:creationId xmlns:a16="http://schemas.microsoft.com/office/drawing/2014/main" id="{E65B92A0-E9F5-8D1F-F38C-580C08B086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15508" y="8904158"/>
            <a:ext cx="17467566" cy="1253301"/>
          </a:xfrm>
        </p:spPr>
        <p:txBody>
          <a:bodyPr>
            <a:normAutofit/>
          </a:bodyPr>
          <a:lstStyle/>
          <a:p>
            <a:r>
              <a:rPr lang="en-US"/>
              <a:t>Christine Materazzi-Wagner</a:t>
            </a:r>
            <a:r>
              <a:rPr lang="en-GB"/>
              <a:t>, </a:t>
            </a:r>
            <a:br>
              <a:rPr lang="en-GB"/>
            </a:br>
            <a:r>
              <a:rPr lang="en-GB"/>
              <a:t>CEER/ACER Electricity Working Group Chairperson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390D0CB-D621-47AA-BD48-B69FE7191D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87676" y="2470"/>
          <a:ext cx="1674" cy="16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1" name="think-cell Folie" r:id="rId5" imgW="469" imgH="470" progId="TCLayout.ActiveDocument.1">
                  <p:embed/>
                </p:oleObj>
              </mc:Choice>
              <mc:Fallback>
                <p:oleObj name="think-cell Folie" r:id="rId5" imgW="469" imgH="47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390D0CB-D621-47AA-BD48-B69FE7191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87676" y="2470"/>
                        <a:ext cx="1674" cy="16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06FE4F8-E580-4B76-A2C3-6755ABBEED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86001" y="795"/>
            <a:ext cx="167432" cy="1674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371719"/>
            <a:endParaRPr lang="en-GB" sz="3587" b="1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7478442-56FC-4FAE-A92B-5E9A02EDE5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529" y="537366"/>
            <a:ext cx="12442071" cy="1463768"/>
          </a:xfrm>
        </p:spPr>
        <p:txBody>
          <a:bodyPr/>
          <a:lstStyle/>
          <a:p>
            <a:pPr algn="r"/>
            <a:r>
              <a:rPr lang="en-GB" sz="3798"/>
              <a:t>The electricity world changes anyway</a:t>
            </a:r>
            <a:endParaRPr lang="en-GB">
              <a:solidFill>
                <a:srgbClr val="FF000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E1B538-6D30-461C-B8C9-F153C26FE0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2050062"/>
            <a:ext cx="16459200" cy="6788945"/>
          </a:xfrm>
        </p:spPr>
        <p:txBody>
          <a:bodyPr>
            <a:normAutofit/>
          </a:bodyPr>
          <a:lstStyle/>
          <a:p>
            <a:pPr marL="75945" indent="0">
              <a:spcAft>
                <a:spcPts val="949"/>
              </a:spcAft>
              <a:buNone/>
            </a:pPr>
            <a:r>
              <a:rPr lang="en-US" sz="2742" b="1">
                <a:solidFill>
                  <a:schemeClr val="accent1"/>
                </a:solidFill>
              </a:rPr>
              <a:t>The future electricity system will</a:t>
            </a:r>
          </a:p>
          <a:p>
            <a:pPr>
              <a:spcAft>
                <a:spcPts val="949"/>
              </a:spcAft>
            </a:pPr>
            <a:r>
              <a:rPr lang="en-US" sz="2742">
                <a:solidFill>
                  <a:srgbClr val="00457D"/>
                </a:solidFill>
              </a:rPr>
              <a:t>be dominated by (volatile) </a:t>
            </a:r>
            <a:r>
              <a:rPr lang="en-US" sz="2742" b="1">
                <a:solidFill>
                  <a:srgbClr val="00457D"/>
                </a:solidFill>
              </a:rPr>
              <a:t>renewables</a:t>
            </a:r>
            <a:r>
              <a:rPr lang="en-US" sz="2742">
                <a:solidFill>
                  <a:srgbClr val="00457D"/>
                </a:solidFill>
              </a:rPr>
              <a:t> in the </a:t>
            </a:r>
            <a:br>
              <a:rPr lang="en-US" sz="2742">
                <a:solidFill>
                  <a:srgbClr val="00457D"/>
                </a:solidFill>
              </a:rPr>
            </a:br>
            <a:r>
              <a:rPr lang="en-US" sz="2742">
                <a:solidFill>
                  <a:srgbClr val="00457D"/>
                </a:solidFill>
              </a:rPr>
              <a:t>generation mix, with the remaining part being flexible</a:t>
            </a:r>
          </a:p>
          <a:p>
            <a:pPr>
              <a:spcAft>
                <a:spcPts val="949"/>
              </a:spcAft>
            </a:pPr>
            <a:r>
              <a:rPr lang="en-US" sz="2742">
                <a:solidFill>
                  <a:srgbClr val="00457D"/>
                </a:solidFill>
              </a:rPr>
              <a:t>see a more </a:t>
            </a:r>
            <a:r>
              <a:rPr lang="en-US" sz="2742" b="1">
                <a:solidFill>
                  <a:srgbClr val="00457D"/>
                </a:solidFill>
              </a:rPr>
              <a:t>active distribution system </a:t>
            </a:r>
            <a:br>
              <a:rPr lang="en-US" sz="2742" b="1">
                <a:solidFill>
                  <a:srgbClr val="00457D"/>
                </a:solidFill>
              </a:rPr>
            </a:br>
            <a:r>
              <a:rPr lang="en-US" sz="2742">
                <a:solidFill>
                  <a:srgbClr val="00457D"/>
                </a:solidFill>
              </a:rPr>
              <a:t>(distributed generation, demand response etc.)</a:t>
            </a:r>
          </a:p>
          <a:p>
            <a:pPr>
              <a:spcAft>
                <a:spcPts val="949"/>
              </a:spcAft>
            </a:pPr>
            <a:r>
              <a:rPr lang="en-US" sz="2742">
                <a:solidFill>
                  <a:srgbClr val="00457D"/>
                </a:solidFill>
              </a:rPr>
              <a:t>will remain </a:t>
            </a:r>
            <a:r>
              <a:rPr lang="en-US" sz="2742" b="1" err="1">
                <a:solidFill>
                  <a:srgbClr val="00457D"/>
                </a:solidFill>
              </a:rPr>
              <a:t>centralised</a:t>
            </a:r>
            <a:r>
              <a:rPr lang="en-US" sz="2742">
                <a:solidFill>
                  <a:srgbClr val="00457D"/>
                </a:solidFill>
              </a:rPr>
              <a:t> to some extent </a:t>
            </a:r>
            <a:br>
              <a:rPr lang="en-US" sz="2742">
                <a:solidFill>
                  <a:srgbClr val="00457D"/>
                </a:solidFill>
              </a:rPr>
            </a:br>
            <a:r>
              <a:rPr lang="en-US" sz="2742">
                <a:solidFill>
                  <a:srgbClr val="00457D"/>
                </a:solidFill>
              </a:rPr>
              <a:t>(nuclear, hydro, offshore)</a:t>
            </a:r>
          </a:p>
          <a:p>
            <a:pPr>
              <a:spcAft>
                <a:spcPts val="949"/>
              </a:spcAft>
            </a:pPr>
            <a:r>
              <a:rPr lang="en-US" sz="2742">
                <a:solidFill>
                  <a:srgbClr val="00457D"/>
                </a:solidFill>
              </a:rPr>
              <a:t>feature a higher level of </a:t>
            </a:r>
            <a:r>
              <a:rPr lang="en-US" sz="2742" b="1">
                <a:solidFill>
                  <a:srgbClr val="00457D"/>
                </a:solidFill>
              </a:rPr>
              <a:t>electrification</a:t>
            </a:r>
            <a:r>
              <a:rPr lang="en-US" sz="2742">
                <a:solidFill>
                  <a:srgbClr val="00457D"/>
                </a:solidFill>
              </a:rPr>
              <a:t> </a:t>
            </a:r>
            <a:br>
              <a:rPr lang="en-US" sz="2742">
                <a:solidFill>
                  <a:srgbClr val="00457D"/>
                </a:solidFill>
              </a:rPr>
            </a:br>
            <a:r>
              <a:rPr lang="en-US" sz="2742">
                <a:solidFill>
                  <a:srgbClr val="00457D"/>
                </a:solidFill>
              </a:rPr>
              <a:t>(heating/cooling, industrial processes, transport)</a:t>
            </a:r>
          </a:p>
          <a:p>
            <a:pPr>
              <a:spcAft>
                <a:spcPts val="949"/>
              </a:spcAft>
            </a:pPr>
            <a:r>
              <a:rPr lang="en-US" sz="2742">
                <a:solidFill>
                  <a:srgbClr val="00457D"/>
                </a:solidFill>
              </a:rPr>
              <a:t>be shaped by </a:t>
            </a:r>
            <a:r>
              <a:rPr lang="en-US" sz="2742" b="1" err="1">
                <a:solidFill>
                  <a:srgbClr val="00457D"/>
                </a:solidFill>
              </a:rPr>
              <a:t>digitalisation</a:t>
            </a:r>
            <a:endParaRPr lang="en-US" sz="2742" b="1">
              <a:solidFill>
                <a:srgbClr val="00457D"/>
              </a:solidFill>
            </a:endParaRPr>
          </a:p>
          <a:p>
            <a:pPr>
              <a:spcAft>
                <a:spcPts val="949"/>
              </a:spcAft>
            </a:pPr>
            <a:r>
              <a:rPr lang="en-US" sz="2742">
                <a:solidFill>
                  <a:srgbClr val="00457D"/>
                </a:solidFill>
              </a:rPr>
              <a:t>be </a:t>
            </a:r>
            <a:r>
              <a:rPr lang="en-US" sz="2742" b="1">
                <a:solidFill>
                  <a:srgbClr val="00457D"/>
                </a:solidFill>
              </a:rPr>
              <a:t>integrated with other sectors </a:t>
            </a:r>
            <a:br>
              <a:rPr lang="en-US" sz="2742" b="1">
                <a:solidFill>
                  <a:srgbClr val="00457D"/>
                </a:solidFill>
              </a:rPr>
            </a:br>
            <a:r>
              <a:rPr lang="en-US" sz="2742">
                <a:solidFill>
                  <a:srgbClr val="00457D"/>
                </a:solidFill>
              </a:rPr>
              <a:t>(hydrogen, biogas; heat, transport))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DA9FF6D-067F-0CF4-2E3B-9F57799F2DFB}"/>
              </a:ext>
            </a:extLst>
          </p:cNvPr>
          <p:cNvGrpSpPr/>
          <p:nvPr/>
        </p:nvGrpSpPr>
        <p:grpSpPr>
          <a:xfrm>
            <a:off x="12276759" y="2050062"/>
            <a:ext cx="3820788" cy="4333568"/>
            <a:chOff x="8569328" y="1422398"/>
            <a:chExt cx="3622672" cy="4108864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68BF50F1-8F9C-9608-F729-C584073B4B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1" r="12076"/>
            <a:stretch/>
          </p:blipFill>
          <p:spPr>
            <a:xfrm>
              <a:off x="8579344" y="1422398"/>
              <a:ext cx="3612656" cy="4108864"/>
            </a:xfrm>
            <a:prstGeom prst="rect">
              <a:avLst/>
            </a:prstGeom>
          </p:spPr>
        </p:pic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B6C05CD5-F81A-9F42-6620-CEB5E9E21329}"/>
                </a:ext>
              </a:extLst>
            </p:cNvPr>
            <p:cNvSpPr/>
            <p:nvPr/>
          </p:nvSpPr>
          <p:spPr>
            <a:xfrm>
              <a:off x="8569328" y="1594568"/>
              <a:ext cx="196678" cy="3890302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938" rtlCol="0" anchor="t"/>
            <a:lstStyle/>
            <a:p>
              <a:pPr algn="ctr" defTabSz="1371719"/>
              <a:endParaRPr lang="de-DE" sz="2742">
                <a:solidFill>
                  <a:srgbClr val="0066A9"/>
                </a:solidFill>
                <a:latin typeface="Arial"/>
              </a:endParaRPr>
            </a:p>
          </p:txBody>
        </p:sp>
      </p:grp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956FE2F-0C40-80CC-96C3-C8EB3DB998B3}"/>
              </a:ext>
            </a:extLst>
          </p:cNvPr>
          <p:cNvSpPr txBox="1">
            <a:spLocks/>
          </p:cNvSpPr>
          <p:nvPr/>
        </p:nvSpPr>
        <p:spPr>
          <a:xfrm>
            <a:off x="914401" y="8122079"/>
            <a:ext cx="7822433" cy="1778760"/>
          </a:xfrm>
          <a:prstGeom prst="rect">
            <a:avLst/>
          </a:prstGeom>
        </p:spPr>
        <p:txBody>
          <a:bodyPr vert="horz" lIns="137159" tIns="68580" rIns="137159" bIns="68580" rtlCol="0">
            <a:normAutofit/>
          </a:bodyPr>
          <a:lstStyle>
            <a:lvl1pPr marL="360000" indent="-288000" algn="l" defTabSz="1300460" rtl="0" eaLnBrk="1" latinLnBrk="0" hangingPunct="1">
              <a:spcBef>
                <a:spcPts val="0"/>
              </a:spcBef>
              <a:buClr>
                <a:schemeClr val="tx2"/>
              </a:buClr>
              <a:buSzPct val="120000"/>
              <a:buFont typeface="Arial" pitchFamily="34" charset="0"/>
              <a:buChar char="•"/>
              <a:defRPr sz="2900" kern="1200">
                <a:solidFill>
                  <a:srgbClr val="74A0CA"/>
                </a:solidFill>
                <a:latin typeface="+mn-lt"/>
                <a:ea typeface="+mn-ea"/>
                <a:cs typeface="+mn-cs"/>
              </a:defRPr>
            </a:lvl1pPr>
            <a:lvl2pPr marL="1056623" indent="-406394" algn="l" defTabSz="130046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2200" kern="1200" baseline="0">
                <a:solidFill>
                  <a:schemeClr val="accent6"/>
                </a:solidFill>
                <a:latin typeface="Arial" pitchFamily="34" charset="0"/>
                <a:ea typeface="+mn-ea"/>
                <a:cs typeface="+mn-cs"/>
              </a:defRPr>
            </a:lvl2pPr>
            <a:lvl3pPr marL="1625575" indent="-216000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accent6"/>
                </a:solidFill>
                <a:latin typeface="Arial" pitchFamily="34" charset="0"/>
                <a:ea typeface="+mn-ea"/>
                <a:cs typeface="+mn-cs"/>
              </a:defRPr>
            </a:lvl3pPr>
            <a:lvl4pPr marL="227580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 baseline="0">
                <a:solidFill>
                  <a:schemeClr val="accent6"/>
                </a:solidFill>
                <a:latin typeface="Arial" pitchFamily="34" charset="0"/>
                <a:ea typeface="+mn-ea"/>
                <a:cs typeface="+mn-cs"/>
              </a:defRPr>
            </a:lvl4pPr>
            <a:lvl5pPr marL="292603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 baseline="0">
                <a:solidFill>
                  <a:schemeClr val="accent6"/>
                </a:solidFill>
                <a:latin typeface="Arial" pitchFamily="34" charset="0"/>
                <a:ea typeface="+mn-ea"/>
                <a:cs typeface="+mn-cs"/>
              </a:defRPr>
            </a:lvl5pPr>
            <a:lvl6pPr marL="357626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2649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72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2695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64303" indent="-488951" defTabSz="1371719">
              <a:spcAft>
                <a:spcPts val="1266"/>
              </a:spcAft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en-US" sz="2742" b="1">
                <a:solidFill>
                  <a:srgbClr val="FABA00"/>
                </a:solidFill>
                <a:latin typeface="Arial"/>
              </a:rPr>
              <a:t>Affordability and resilience</a:t>
            </a:r>
          </a:p>
          <a:p>
            <a:pPr marL="564303" indent="-488951" defTabSz="1371719">
              <a:spcAft>
                <a:spcPts val="1266"/>
              </a:spcAft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en-US" sz="2742" b="1">
                <a:solidFill>
                  <a:srgbClr val="FABA00"/>
                </a:solidFill>
                <a:latin typeface="Arial"/>
              </a:rPr>
              <a:t>Market segments</a:t>
            </a:r>
          </a:p>
          <a:p>
            <a:pPr marL="564303" indent="-488951" defTabSz="1371719">
              <a:spcAft>
                <a:spcPts val="1266"/>
              </a:spcAft>
              <a:buClr>
                <a:srgbClr val="FFC000"/>
              </a:buClr>
              <a:buFont typeface="Wingdings" panose="05000000000000000000" pitchFamily="2" charset="2"/>
              <a:buChar char="Ø"/>
            </a:pPr>
            <a:r>
              <a:rPr lang="en-US" sz="2742" b="1">
                <a:solidFill>
                  <a:srgbClr val="FABA00"/>
                </a:solidFill>
                <a:latin typeface="Arial"/>
              </a:rPr>
              <a:t>Time horizons / implementation periods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9681B959-BDA5-8746-C9DB-480EF97D5E05}"/>
              </a:ext>
            </a:extLst>
          </p:cNvPr>
          <p:cNvSpPr txBox="1">
            <a:spLocks/>
          </p:cNvSpPr>
          <p:nvPr/>
        </p:nvSpPr>
        <p:spPr>
          <a:xfrm>
            <a:off x="11628276" y="6980499"/>
            <a:ext cx="4577283" cy="2734055"/>
          </a:xfrm>
          <a:prstGeom prst="rect">
            <a:avLst/>
          </a:prstGeom>
        </p:spPr>
        <p:txBody>
          <a:bodyPr vert="horz" lIns="137159" tIns="68580" rIns="137159" bIns="68580" rtlCol="0">
            <a:noAutofit/>
          </a:bodyPr>
          <a:lstStyle>
            <a:lvl1pPr marL="360000" indent="-288000" algn="l" defTabSz="1300460" rtl="0" eaLnBrk="1" latinLnBrk="0" hangingPunct="1">
              <a:spcBef>
                <a:spcPts val="0"/>
              </a:spcBef>
              <a:buClr>
                <a:schemeClr val="tx2"/>
              </a:buClr>
              <a:buSzPct val="120000"/>
              <a:buFont typeface="Arial" pitchFamily="34" charset="0"/>
              <a:buChar char="•"/>
              <a:defRPr sz="2900" kern="1200">
                <a:solidFill>
                  <a:srgbClr val="74A0CA"/>
                </a:solidFill>
                <a:latin typeface="+mn-lt"/>
                <a:ea typeface="+mn-ea"/>
                <a:cs typeface="+mn-cs"/>
              </a:defRPr>
            </a:lvl1pPr>
            <a:lvl2pPr marL="1056623" indent="-406394" algn="l" defTabSz="130046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►"/>
              <a:defRPr sz="2200" kern="1200" baseline="0">
                <a:solidFill>
                  <a:schemeClr val="accent6"/>
                </a:solidFill>
                <a:latin typeface="Arial" pitchFamily="34" charset="0"/>
                <a:ea typeface="+mn-ea"/>
                <a:cs typeface="+mn-cs"/>
              </a:defRPr>
            </a:lvl2pPr>
            <a:lvl3pPr marL="1625575" indent="-216000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 baseline="0">
                <a:solidFill>
                  <a:schemeClr val="accent6"/>
                </a:solidFill>
                <a:latin typeface="Arial" pitchFamily="34" charset="0"/>
                <a:ea typeface="+mn-ea"/>
                <a:cs typeface="+mn-cs"/>
              </a:defRPr>
            </a:lvl3pPr>
            <a:lvl4pPr marL="227580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 baseline="0">
                <a:solidFill>
                  <a:schemeClr val="accent6"/>
                </a:solidFill>
                <a:latin typeface="Arial" pitchFamily="34" charset="0"/>
                <a:ea typeface="+mn-ea"/>
                <a:cs typeface="+mn-cs"/>
              </a:defRPr>
            </a:lvl4pPr>
            <a:lvl5pPr marL="292603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 baseline="0">
                <a:solidFill>
                  <a:schemeClr val="accent6"/>
                </a:solidFill>
                <a:latin typeface="Arial" pitchFamily="34" charset="0"/>
                <a:ea typeface="+mn-ea"/>
                <a:cs typeface="+mn-cs"/>
              </a:defRPr>
            </a:lvl5pPr>
            <a:lvl6pPr marL="357626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2649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72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26954" indent="-325115" algn="l" defTabSz="13004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5945" indent="0" algn="r" defTabSz="1371719">
              <a:spcAft>
                <a:spcPts val="1266"/>
              </a:spcAft>
              <a:buClr>
                <a:srgbClr val="74A0CA"/>
              </a:buClr>
              <a:buNone/>
            </a:pPr>
            <a:r>
              <a:rPr lang="en-US" sz="3798" b="1">
                <a:solidFill>
                  <a:srgbClr val="62902C"/>
                </a:solidFill>
                <a:latin typeface="Arial"/>
              </a:rPr>
              <a:t>The best market design for a high-performance electricity system</a:t>
            </a:r>
          </a:p>
        </p:txBody>
      </p:sp>
    </p:spTree>
    <p:extLst>
      <p:ext uri="{BB962C8B-B14F-4D97-AF65-F5344CB8AC3E}">
        <p14:creationId xmlns:p14="http://schemas.microsoft.com/office/powerpoint/2010/main" val="2454019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0" grpId="0" uiExpand="1" build="p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37000" r="-3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09C26F-18CB-473D-A3FF-0288EECA56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915053" y="6891652"/>
            <a:ext cx="10715028" cy="415563"/>
          </a:xfrm>
        </p:spPr>
        <p:txBody>
          <a:bodyPr/>
          <a:lstStyle/>
          <a:p>
            <a:r>
              <a:rPr lang="en-US"/>
              <a:t>CEER Annual Conference, Brussel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9CA57F-9666-4149-A2AB-E3D0D419D9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z="6601"/>
              <a:t>Electricity Market reform, </a:t>
            </a:r>
            <a:r>
              <a:rPr lang="nl-BE" sz="6601" err="1"/>
              <a:t>beyond</a:t>
            </a:r>
            <a:r>
              <a:rPr lang="nl-BE" sz="6601"/>
              <a:t> </a:t>
            </a:r>
            <a:r>
              <a:rPr lang="nl-BE" sz="6601" err="1"/>
              <a:t>the</a:t>
            </a:r>
            <a:r>
              <a:rPr lang="nl-BE" sz="6601"/>
              <a:t> gas crisis</a:t>
            </a:r>
            <a:endParaRPr lang="en-GB" sz="6601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13202F-24EC-4A85-807D-77BAF0FFAE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BE"/>
              <a:t>13/12/202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3518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8692D20-70F3-5EBA-5F91-D5D1D0285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pening Remark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D49A82E-FB2C-B993-0FBB-9E20253BFF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8071" y="3660405"/>
            <a:ext cx="11473840" cy="2101766"/>
          </a:xfrm>
        </p:spPr>
        <p:txBody>
          <a:bodyPr/>
          <a:lstStyle/>
          <a:p>
            <a:r>
              <a:rPr lang="en-GB"/>
              <a:t>Annegret Groebel</a:t>
            </a:r>
          </a:p>
          <a:p>
            <a:pPr lvl="1"/>
            <a:r>
              <a:rPr lang="en-GB"/>
              <a:t>President</a:t>
            </a:r>
            <a:r>
              <a:rPr lang="en-BE"/>
              <a:t>, </a:t>
            </a:r>
            <a:r>
              <a:rPr lang="en-GB"/>
              <a:t>CEER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FA81E89-A5A5-B43E-87AD-4C9B8F8E93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/>
              <a:t>Welcome</a:t>
            </a:r>
          </a:p>
        </p:txBody>
      </p:sp>
    </p:spTree>
    <p:extLst>
      <p:ext uri="{BB962C8B-B14F-4D97-AF65-F5344CB8AC3E}">
        <p14:creationId xmlns:p14="http://schemas.microsoft.com/office/powerpoint/2010/main" val="32905428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910D903-4FB8-41A4-868E-304D33585666}"/>
              </a:ext>
            </a:extLst>
          </p:cNvPr>
          <p:cNvGraphicFramePr/>
          <p:nvPr/>
        </p:nvGraphicFramePr>
        <p:xfrm>
          <a:off x="2740095" y="2538642"/>
          <a:ext cx="12772572" cy="65155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A370D6-2AC7-43D2-90A9-7052BA2C51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371783"/>
            <a:fld id="{796CB93B-C569-4802-AF22-9A2B7C1E12CA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371783"/>
              <a:t>20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73B658-1D7C-4A62-8D89-7DEA4342FC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lectricity market reform goals </a:t>
            </a:r>
            <a:br>
              <a:rPr lang="en-GB"/>
            </a:br>
            <a:r>
              <a:rPr lang="en-GB" sz="4201"/>
              <a:t>Transition away from fossil ga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44746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05ACA5-DE7C-363C-1E95-F6333CC64E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3020248" y="2420250"/>
            <a:ext cx="542361" cy="346301"/>
          </a:xfrm>
        </p:spPr>
        <p:txBody>
          <a:bodyPr/>
          <a:lstStyle/>
          <a:p>
            <a:pPr defTabSz="1371783"/>
            <a:fld id="{796CB93B-C569-4802-AF22-9A2B7C1E12CA}" type="slidenum">
              <a:rPr lang="en-US">
                <a:solidFill>
                  <a:srgbClr val="000000">
                    <a:tint val="75000"/>
                  </a:srgbClr>
                </a:solidFill>
              </a:rPr>
              <a:pPr defTabSz="1371783"/>
              <a:t>21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Graphic 9" descr="Children outline">
            <a:extLst>
              <a:ext uri="{FF2B5EF4-FFF2-40B4-BE49-F238E27FC236}">
                <a16:creationId xmlns:a16="http://schemas.microsoft.com/office/drawing/2014/main" id="{87EB7A12-7F30-7E3C-6D8F-63BF86EF28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7487" y="2511741"/>
            <a:ext cx="1644090" cy="16440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B2FA049-1F59-EA2C-67CA-EE8F39489F33}"/>
              </a:ext>
            </a:extLst>
          </p:cNvPr>
          <p:cNvSpPr txBox="1"/>
          <p:nvPr/>
        </p:nvSpPr>
        <p:spPr>
          <a:xfrm>
            <a:off x="7412038" y="2428254"/>
            <a:ext cx="3685229" cy="4154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1371783"/>
            <a:r>
              <a:rPr lang="en-US" sz="2700" b="1">
                <a:solidFill>
                  <a:srgbClr val="000000"/>
                </a:solidFill>
                <a:latin typeface="Calibri"/>
                <a:cs typeface="Calibri"/>
              </a:rPr>
              <a:t>People centric</a:t>
            </a:r>
            <a:endParaRPr lang="en-US" sz="2700" b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86AFFDA-F6FD-5455-5137-E831569ED61B}"/>
              </a:ext>
            </a:extLst>
          </p:cNvPr>
          <p:cNvSpPr/>
          <p:nvPr/>
        </p:nvSpPr>
        <p:spPr>
          <a:xfrm>
            <a:off x="7864981" y="2054151"/>
            <a:ext cx="2813164" cy="2623510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783"/>
            <a:endParaRPr lang="en-US" sz="27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E6E9811-5B41-0807-DA82-B117455F3FBD}"/>
              </a:ext>
            </a:extLst>
          </p:cNvPr>
          <p:cNvSpPr/>
          <p:nvPr/>
        </p:nvSpPr>
        <p:spPr>
          <a:xfrm>
            <a:off x="4703860" y="7057049"/>
            <a:ext cx="9119069" cy="13275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algn="ctr" defTabSz="1371783"/>
            <a:r>
              <a:rPr lang="en-US" sz="2100" b="1">
                <a:solidFill>
                  <a:srgbClr val="FFFFFF"/>
                </a:solidFill>
                <a:latin typeface="Calibri"/>
                <a:cs typeface="Calibri"/>
              </a:rPr>
              <a:t>Robust wholesale market foundation</a:t>
            </a:r>
            <a:br>
              <a:rPr lang="en-US" sz="2100">
                <a:solidFill>
                  <a:srgbClr val="FFFFFF"/>
                </a:solidFill>
                <a:latin typeface="Calibri"/>
                <a:cs typeface="Calibri"/>
              </a:rPr>
            </a:br>
            <a:r>
              <a:rPr lang="en-US" sz="2100">
                <a:solidFill>
                  <a:srgbClr val="FFFFFF"/>
                </a:solidFill>
                <a:latin typeface="Calibri"/>
                <a:cs typeface="Calibri"/>
              </a:rPr>
              <a:t>- Comprehensive price formation: marginal, scarcity, location signals</a:t>
            </a:r>
            <a:br>
              <a:rPr lang="en-US" sz="2100">
                <a:solidFill>
                  <a:srgbClr val="FFFFFF"/>
                </a:solidFill>
                <a:latin typeface="Calibri"/>
                <a:cs typeface="Calibri"/>
              </a:rPr>
            </a:br>
            <a:r>
              <a:rPr lang="en-US" sz="2100">
                <a:solidFill>
                  <a:srgbClr val="FFFFFF"/>
                </a:solidFill>
                <a:latin typeface="Calibri"/>
                <a:cs typeface="Calibri"/>
              </a:rPr>
              <a:t>- Coupled markets via interconnectors and transmission </a:t>
            </a:r>
            <a:br>
              <a:rPr lang="en-US" sz="2100">
                <a:solidFill>
                  <a:srgbClr val="FFFFFF"/>
                </a:solidFill>
                <a:latin typeface="Calibri"/>
                <a:cs typeface="Calibri"/>
              </a:rPr>
            </a:br>
            <a:r>
              <a:rPr lang="en-US" sz="2100">
                <a:solidFill>
                  <a:srgbClr val="FFFFFF"/>
                </a:solidFill>
                <a:latin typeface="Calibri"/>
                <a:cs typeface="Calibri"/>
              </a:rPr>
              <a:t>- Governance neutrality: </a:t>
            </a:r>
            <a:r>
              <a:rPr lang="en-US" sz="2100" b="1">
                <a:solidFill>
                  <a:srgbClr val="FFFFFF"/>
                </a:solidFill>
                <a:latin typeface="Calibri"/>
                <a:cs typeface="Calibri"/>
              </a:rPr>
              <a:t>Independent System Operation</a:t>
            </a:r>
          </a:p>
        </p:txBody>
      </p:sp>
      <p:pic>
        <p:nvPicPr>
          <p:cNvPr id="17" name="Graphic 16" descr="Open hand outline">
            <a:extLst>
              <a:ext uri="{FF2B5EF4-FFF2-40B4-BE49-F238E27FC236}">
                <a16:creationId xmlns:a16="http://schemas.microsoft.com/office/drawing/2014/main" id="{072CE773-2B74-4145-BFCA-0FC7D2F3A3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85657" y="3321688"/>
            <a:ext cx="1371812" cy="1644090"/>
          </a:xfrm>
          <a:prstGeom prst="rect">
            <a:avLst/>
          </a:prstGeom>
        </p:spPr>
      </p:pic>
      <p:sp>
        <p:nvSpPr>
          <p:cNvPr id="21" name="Rectangle 5">
            <a:extLst>
              <a:ext uri="{FF2B5EF4-FFF2-40B4-BE49-F238E27FC236}">
                <a16:creationId xmlns:a16="http://schemas.microsoft.com/office/drawing/2014/main" id="{DF28F44A-01D2-7AC3-F4F9-146BD92CA000}"/>
              </a:ext>
            </a:extLst>
          </p:cNvPr>
          <p:cNvSpPr/>
          <p:nvPr/>
        </p:nvSpPr>
        <p:spPr>
          <a:xfrm>
            <a:off x="3160643" y="2033553"/>
            <a:ext cx="4030093" cy="2016718"/>
          </a:xfrm>
          <a:prstGeom prst="rect">
            <a:avLst/>
          </a:prstGeom>
          <a:solidFill>
            <a:schemeClr val="accent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algn="ctr" defTabSz="1371783"/>
            <a:r>
              <a:rPr lang="en-US" sz="2700" b="1">
                <a:solidFill>
                  <a:srgbClr val="FFFFFF"/>
                </a:solidFill>
                <a:latin typeface="Calibri"/>
                <a:cs typeface="Calibri"/>
              </a:rPr>
              <a:t>Supply </a:t>
            </a:r>
            <a:r>
              <a:rPr lang="en-US" sz="2700">
                <a:solidFill>
                  <a:srgbClr val="FFFFFF"/>
                </a:solidFill>
                <a:latin typeface="Calibri"/>
                <a:cs typeface="Calibri"/>
              </a:rPr>
              <a:t>side</a:t>
            </a:r>
          </a:p>
          <a:p>
            <a:pPr algn="ctr" defTabSz="1371783"/>
            <a:r>
              <a:rPr lang="en-US" sz="2100">
                <a:solidFill>
                  <a:srgbClr val="FFFFFF"/>
                </a:solidFill>
                <a:latin typeface="Calibri"/>
                <a:cs typeface="Calibri"/>
              </a:rPr>
              <a:t>More, faster, better renewables</a:t>
            </a:r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77F0321E-0F4F-3EDB-C343-6B6E7523D48E}"/>
              </a:ext>
            </a:extLst>
          </p:cNvPr>
          <p:cNvSpPr/>
          <p:nvPr/>
        </p:nvSpPr>
        <p:spPr>
          <a:xfrm>
            <a:off x="11336050" y="2025436"/>
            <a:ext cx="4030093" cy="2024835"/>
          </a:xfrm>
          <a:prstGeom prst="rect">
            <a:avLst/>
          </a:prstGeom>
          <a:solidFill>
            <a:schemeClr val="accent6">
              <a:lumMod val="75000"/>
              <a:lumOff val="2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algn="ctr" defTabSz="1371783"/>
            <a:r>
              <a:rPr lang="en-US" sz="2700" b="1">
                <a:solidFill>
                  <a:srgbClr val="FFFFFF"/>
                </a:solidFill>
                <a:latin typeface="Calibri"/>
                <a:cs typeface="Calibri"/>
              </a:rPr>
              <a:t>Demand </a:t>
            </a:r>
            <a:r>
              <a:rPr lang="en-US" sz="2700">
                <a:solidFill>
                  <a:srgbClr val="FFFFFF"/>
                </a:solidFill>
                <a:latin typeface="Calibri"/>
                <a:cs typeface="Calibri"/>
              </a:rPr>
              <a:t>side</a:t>
            </a:r>
          </a:p>
          <a:p>
            <a:pPr algn="ctr" defTabSz="1371783"/>
            <a:r>
              <a:rPr lang="en-US" sz="2100">
                <a:solidFill>
                  <a:srgbClr val="FFFFFF"/>
                </a:solidFill>
                <a:latin typeface="Calibri"/>
                <a:cs typeface="Calibri"/>
              </a:rPr>
              <a:t>Resource on par with supply</a:t>
            </a:r>
          </a:p>
        </p:txBody>
      </p:sp>
      <p:sp>
        <p:nvSpPr>
          <p:cNvPr id="26" name="TextBox 12">
            <a:extLst>
              <a:ext uri="{FF2B5EF4-FFF2-40B4-BE49-F238E27FC236}">
                <a16:creationId xmlns:a16="http://schemas.microsoft.com/office/drawing/2014/main" id="{B1D70898-AF1B-9E10-CD84-48B9DD958279}"/>
              </a:ext>
            </a:extLst>
          </p:cNvPr>
          <p:cNvSpPr txBox="1"/>
          <p:nvPr/>
        </p:nvSpPr>
        <p:spPr>
          <a:xfrm>
            <a:off x="11336052" y="4149698"/>
            <a:ext cx="4030091" cy="2167623"/>
          </a:xfrm>
          <a:prstGeom prst="rect">
            <a:avLst/>
          </a:prstGeom>
          <a:solidFill>
            <a:schemeClr val="accent6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>
            <a:defPPr>
              <a:defRPr lang="en-US"/>
            </a:defPPr>
            <a:lvl1pPr>
              <a:defRPr sz="1400" b="1">
                <a:solidFill>
                  <a:sysClr val="windowText" lastClr="000000"/>
                </a:solidFill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defTabSz="1371783"/>
            <a:r>
              <a:rPr lang="en-US" sz="2100" b="0">
                <a:latin typeface="Calibri"/>
              </a:rPr>
              <a:t>Deliver</a:t>
            </a:r>
            <a:r>
              <a:rPr lang="en-US" sz="2100">
                <a:latin typeface="Calibri"/>
              </a:rPr>
              <a:t> full access </a:t>
            </a:r>
            <a:r>
              <a:rPr lang="en-US" sz="2100" b="0">
                <a:latin typeface="Calibri"/>
              </a:rPr>
              <a:t>for</a:t>
            </a:r>
            <a:r>
              <a:rPr lang="en-US" sz="2100">
                <a:latin typeface="Calibri"/>
              </a:rPr>
              <a:t> </a:t>
            </a:r>
            <a:r>
              <a:rPr lang="en-US" sz="2100" b="0">
                <a:latin typeface="Calibri"/>
              </a:rPr>
              <a:t>demand side flexibility</a:t>
            </a:r>
            <a:r>
              <a:rPr lang="en-US" sz="2100">
                <a:latin typeface="Calibri"/>
              </a:rPr>
              <a:t> </a:t>
            </a:r>
            <a:r>
              <a:rPr lang="en-US" sz="2100" b="0">
                <a:latin typeface="Calibri"/>
              </a:rPr>
              <a:t>to all markets.</a:t>
            </a:r>
          </a:p>
        </p:txBody>
      </p:sp>
      <p:sp>
        <p:nvSpPr>
          <p:cNvPr id="28" name="Trapezoid 13">
            <a:extLst>
              <a:ext uri="{FF2B5EF4-FFF2-40B4-BE49-F238E27FC236}">
                <a16:creationId xmlns:a16="http://schemas.microsoft.com/office/drawing/2014/main" id="{191AE412-AD4B-3D7D-D91C-56ACCC7052C2}"/>
              </a:ext>
            </a:extLst>
          </p:cNvPr>
          <p:cNvSpPr/>
          <p:nvPr/>
        </p:nvSpPr>
        <p:spPr>
          <a:xfrm>
            <a:off x="3152474" y="1123438"/>
            <a:ext cx="12213668" cy="841378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algn="ctr" defTabSz="1371783"/>
            <a:r>
              <a:rPr lang="en-US" sz="2700">
                <a:solidFill>
                  <a:srgbClr val="FFFFFF"/>
                </a:solidFill>
                <a:latin typeface="Calibri"/>
                <a:cs typeface="Calibri"/>
              </a:rPr>
              <a:t>Reform for </a:t>
            </a:r>
            <a:r>
              <a:rPr lang="en-US" sz="2700" b="1">
                <a:solidFill>
                  <a:srgbClr val="FFFFFF"/>
                </a:solidFill>
                <a:latin typeface="Calibri"/>
                <a:cs typeface="Calibri"/>
              </a:rPr>
              <a:t>affordable </a:t>
            </a:r>
            <a:r>
              <a:rPr lang="en-US" sz="2700">
                <a:solidFill>
                  <a:srgbClr val="FFFFFF"/>
                </a:solidFill>
                <a:latin typeface="Calibri"/>
                <a:cs typeface="Calibri"/>
              </a:rPr>
              <a:t>energy transition </a:t>
            </a:r>
            <a:r>
              <a:rPr lang="en-US" sz="2700" b="1">
                <a:solidFill>
                  <a:srgbClr val="FFFFFF"/>
                </a:solidFill>
                <a:latin typeface="Calibri"/>
                <a:cs typeface="Calibri"/>
              </a:rPr>
              <a:t>at speed</a:t>
            </a:r>
            <a:endParaRPr lang="en-US" sz="2700" b="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0" name="Rectangle 14">
            <a:extLst>
              <a:ext uri="{FF2B5EF4-FFF2-40B4-BE49-F238E27FC236}">
                <a16:creationId xmlns:a16="http://schemas.microsoft.com/office/drawing/2014/main" id="{2D5080FA-C00B-37BF-EEA2-928BA8E88DE4}"/>
              </a:ext>
            </a:extLst>
          </p:cNvPr>
          <p:cNvSpPr/>
          <p:nvPr/>
        </p:nvSpPr>
        <p:spPr>
          <a:xfrm>
            <a:off x="3168812" y="7953241"/>
            <a:ext cx="5541852" cy="96964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algn="ctr" defTabSz="1371783"/>
            <a:r>
              <a:rPr lang="en-US" sz="2700" b="1">
                <a:solidFill>
                  <a:srgbClr val="FFFFFF"/>
                </a:solidFill>
                <a:latin typeface="Calibri"/>
                <a:cs typeface="Calibri"/>
              </a:rPr>
              <a:t>Private </a:t>
            </a:r>
            <a:r>
              <a:rPr lang="en-US" sz="2700">
                <a:solidFill>
                  <a:srgbClr val="FFFFFF"/>
                </a:solidFill>
                <a:latin typeface="Calibri"/>
                <a:cs typeface="Calibri"/>
              </a:rPr>
              <a:t>financing</a:t>
            </a:r>
            <a:endParaRPr lang="en-US" sz="27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1" name="Rectangle 15">
            <a:extLst>
              <a:ext uri="{FF2B5EF4-FFF2-40B4-BE49-F238E27FC236}">
                <a16:creationId xmlns:a16="http://schemas.microsoft.com/office/drawing/2014/main" id="{9ADF3C3F-DE69-99DE-E298-7C134EBB7148}"/>
              </a:ext>
            </a:extLst>
          </p:cNvPr>
          <p:cNvSpPr/>
          <p:nvPr/>
        </p:nvSpPr>
        <p:spPr>
          <a:xfrm>
            <a:off x="8822574" y="7934790"/>
            <a:ext cx="6535401" cy="9793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defTabSz="1371783"/>
            <a:r>
              <a:rPr lang="en-US" sz="2700" b="1">
                <a:solidFill>
                  <a:srgbClr val="FFFFFF"/>
                </a:solidFill>
                <a:latin typeface="Calibri"/>
                <a:cs typeface="Calibri"/>
              </a:rPr>
              <a:t>Public </a:t>
            </a:r>
            <a:r>
              <a:rPr lang="en-US" sz="2700">
                <a:solidFill>
                  <a:srgbClr val="FFFFFF"/>
                </a:solidFill>
                <a:latin typeface="Calibri"/>
                <a:cs typeface="Calibri"/>
              </a:rPr>
              <a:t>financing</a:t>
            </a:r>
            <a:endParaRPr lang="en-US" sz="27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3" name="TextBox 17">
            <a:extLst>
              <a:ext uri="{FF2B5EF4-FFF2-40B4-BE49-F238E27FC236}">
                <a16:creationId xmlns:a16="http://schemas.microsoft.com/office/drawing/2014/main" id="{A25295C2-52F4-8142-3FD6-FB2F77555EEE}"/>
              </a:ext>
            </a:extLst>
          </p:cNvPr>
          <p:cNvSpPr txBox="1"/>
          <p:nvPr/>
        </p:nvSpPr>
        <p:spPr>
          <a:xfrm>
            <a:off x="11814133" y="8276456"/>
            <a:ext cx="3560178" cy="3231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28682" indent="-428682" defTabSz="1371783">
              <a:buFont typeface="Arial"/>
              <a:buChar char="•"/>
            </a:pPr>
            <a:r>
              <a:rPr lang="en-US" sz="2100" b="1">
                <a:solidFill>
                  <a:srgbClr val="FFFFFF"/>
                </a:solidFill>
                <a:latin typeface="Calibri"/>
                <a:cs typeface="Calibri"/>
              </a:rPr>
              <a:t>Windfall profit tax </a:t>
            </a:r>
          </a:p>
        </p:txBody>
      </p:sp>
      <p:sp>
        <p:nvSpPr>
          <p:cNvPr id="34" name="TextBox 18">
            <a:extLst>
              <a:ext uri="{FF2B5EF4-FFF2-40B4-BE49-F238E27FC236}">
                <a16:creationId xmlns:a16="http://schemas.microsoft.com/office/drawing/2014/main" id="{B30BD9A2-30BD-419E-C5A1-F701F6752847}"/>
              </a:ext>
            </a:extLst>
          </p:cNvPr>
          <p:cNvSpPr txBox="1"/>
          <p:nvPr/>
        </p:nvSpPr>
        <p:spPr>
          <a:xfrm>
            <a:off x="7412038" y="4702484"/>
            <a:ext cx="368522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1371783"/>
            <a:r>
              <a:rPr lang="en-US" sz="2100" b="1">
                <a:solidFill>
                  <a:srgbClr val="000000"/>
                </a:solidFill>
                <a:latin typeface="Calibri"/>
                <a:cs typeface="Calibri"/>
              </a:rPr>
              <a:t>Hedge</a:t>
            </a:r>
            <a:r>
              <a:rPr lang="en-US" sz="2100">
                <a:solidFill>
                  <a:srgbClr val="000000"/>
                </a:solidFill>
                <a:latin typeface="Calibri"/>
                <a:cs typeface="Calibri"/>
              </a:rPr>
              <a:t> consumers</a:t>
            </a:r>
          </a:p>
          <a:p>
            <a:pPr algn="ctr" defTabSz="1371783"/>
            <a:r>
              <a:rPr lang="en-US" sz="2100">
                <a:solidFill>
                  <a:srgbClr val="000000"/>
                </a:solidFill>
                <a:latin typeface="Calibri"/>
                <a:cs typeface="Calibri"/>
              </a:rPr>
              <a:t>Offer</a:t>
            </a:r>
            <a:r>
              <a:rPr lang="en-US" sz="2100" b="1">
                <a:solidFill>
                  <a:srgbClr val="000000"/>
                </a:solidFill>
                <a:latin typeface="Calibri"/>
                <a:cs typeface="Calibri"/>
              </a:rPr>
              <a:t> smart tariff </a:t>
            </a:r>
            <a:r>
              <a:rPr lang="en-US" sz="2100">
                <a:solidFill>
                  <a:srgbClr val="000000"/>
                </a:solidFill>
                <a:latin typeface="Calibri"/>
                <a:cs typeface="Calibri"/>
              </a:rPr>
              <a:t>options</a:t>
            </a:r>
          </a:p>
        </p:txBody>
      </p:sp>
      <p:sp>
        <p:nvSpPr>
          <p:cNvPr id="36" name="Rectangle 26">
            <a:extLst>
              <a:ext uri="{FF2B5EF4-FFF2-40B4-BE49-F238E27FC236}">
                <a16:creationId xmlns:a16="http://schemas.microsoft.com/office/drawing/2014/main" id="{F69C9BB4-2C11-6579-7117-DDF15E126C77}"/>
              </a:ext>
            </a:extLst>
          </p:cNvPr>
          <p:cNvSpPr/>
          <p:nvPr/>
        </p:nvSpPr>
        <p:spPr>
          <a:xfrm rot="10800000">
            <a:off x="3160644" y="6396123"/>
            <a:ext cx="12213668" cy="145768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783"/>
            <a:endParaRPr lang="en-US" sz="27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DE6E9811-5B41-0807-DA82-B117455F3FBD}"/>
              </a:ext>
            </a:extLst>
          </p:cNvPr>
          <p:cNvSpPr/>
          <p:nvPr/>
        </p:nvSpPr>
        <p:spPr>
          <a:xfrm>
            <a:off x="9453034" y="6483222"/>
            <a:ext cx="5494886" cy="13275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marL="428682" indent="-428682" defTabSz="1371783">
              <a:buFont typeface="Arial" panose="020B0604020202020204" pitchFamily="34" charset="0"/>
              <a:buChar char="•"/>
            </a:pPr>
            <a:r>
              <a:rPr lang="en-US" sz="2100">
                <a:solidFill>
                  <a:srgbClr val="FFFFFF"/>
                </a:solidFill>
                <a:latin typeface="Calibri"/>
                <a:cs typeface="Calibri"/>
              </a:rPr>
              <a:t>Better price formation</a:t>
            </a:r>
          </a:p>
          <a:p>
            <a:pPr marL="428682" indent="-428682" defTabSz="1371783">
              <a:buFont typeface="Arial" panose="020B0604020202020204" pitchFamily="34" charset="0"/>
              <a:buChar char="•"/>
            </a:pPr>
            <a:r>
              <a:rPr lang="en-US" sz="2100">
                <a:solidFill>
                  <a:srgbClr val="FFFFFF"/>
                </a:solidFill>
                <a:latin typeface="Calibri"/>
                <a:cs typeface="Calibri"/>
              </a:rPr>
              <a:t>Independent System Operation</a:t>
            </a:r>
            <a:endParaRPr lang="en-US" sz="2100" b="1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4" name="Rectangle 28">
            <a:extLst>
              <a:ext uri="{FF2B5EF4-FFF2-40B4-BE49-F238E27FC236}">
                <a16:creationId xmlns:a16="http://schemas.microsoft.com/office/drawing/2014/main" id="{D58FE6AC-C3BA-F66C-85B4-225502F71F4E}"/>
              </a:ext>
            </a:extLst>
          </p:cNvPr>
          <p:cNvSpPr/>
          <p:nvPr/>
        </p:nvSpPr>
        <p:spPr>
          <a:xfrm>
            <a:off x="3160651" y="4155830"/>
            <a:ext cx="4030090" cy="216762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algn="ctr" defTabSz="1371783"/>
            <a:r>
              <a:rPr lang="en-US" sz="2100">
                <a:solidFill>
                  <a:sysClr val="windowText" lastClr="000000"/>
                </a:solidFill>
                <a:latin typeface="Calibri"/>
                <a:cs typeface="Calibri"/>
              </a:rPr>
              <a:t>Develop</a:t>
            </a:r>
            <a:r>
              <a:rPr lang="en-US" sz="2100" b="1">
                <a:solidFill>
                  <a:sysClr val="windowText" lastClr="000000"/>
                </a:solidFill>
                <a:latin typeface="Calibri"/>
                <a:cs typeface="Calibri"/>
              </a:rPr>
              <a:t> offshore energy </a:t>
            </a:r>
            <a:r>
              <a:rPr lang="en-US" sz="2100">
                <a:solidFill>
                  <a:sysClr val="windowText" lastClr="000000"/>
                </a:solidFill>
                <a:latin typeface="Calibri"/>
                <a:cs typeface="Calibri"/>
              </a:rPr>
              <a:t>and improve </a:t>
            </a:r>
            <a:r>
              <a:rPr lang="en-US" sz="2100" b="1">
                <a:solidFill>
                  <a:sysClr val="windowText" lastClr="000000"/>
                </a:solidFill>
                <a:latin typeface="Calibri"/>
                <a:cs typeface="Calibri"/>
              </a:rPr>
              <a:t>long-term markets.</a:t>
            </a:r>
            <a:endParaRPr lang="en-US" sz="210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35" name="Rectangle 19">
            <a:extLst>
              <a:ext uri="{FF2B5EF4-FFF2-40B4-BE49-F238E27FC236}">
                <a16:creationId xmlns:a16="http://schemas.microsoft.com/office/drawing/2014/main" id="{6C2A5A1A-B696-4477-9ED9-B12481BAAC7E}"/>
              </a:ext>
            </a:extLst>
          </p:cNvPr>
          <p:cNvSpPr/>
          <p:nvPr/>
        </p:nvSpPr>
        <p:spPr>
          <a:xfrm>
            <a:off x="7305960" y="5443649"/>
            <a:ext cx="3909207" cy="873675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algn="ctr" defTabSz="1371783"/>
            <a:r>
              <a:rPr lang="en-US" sz="2700" b="1">
                <a:solidFill>
                  <a:srgbClr val="FFFFFF"/>
                </a:solidFill>
                <a:latin typeface="Calibri"/>
                <a:cs typeface="Calibri"/>
              </a:rPr>
              <a:t>Grids </a:t>
            </a:r>
          </a:p>
          <a:p>
            <a:pPr algn="ctr" defTabSz="1371783"/>
            <a:r>
              <a:rPr lang="en-US" sz="2100" b="1">
                <a:solidFill>
                  <a:srgbClr val="FFFFFF"/>
                </a:solidFill>
                <a:latin typeface="Calibri"/>
                <a:cs typeface="Calibri"/>
              </a:rPr>
              <a:t>Performance-based</a:t>
            </a:r>
            <a:r>
              <a:rPr lang="en-US" sz="2100">
                <a:solidFill>
                  <a:srgbClr val="FFFFFF"/>
                </a:solidFill>
                <a:latin typeface="Calibri"/>
                <a:cs typeface="Calibri"/>
              </a:rPr>
              <a:t> regulation</a:t>
            </a:r>
            <a:endParaRPr lang="en-US" sz="2100" b="1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63D1C97F-B8B1-4BB7-9EF1-E56DED7E18B5}"/>
              </a:ext>
            </a:extLst>
          </p:cNvPr>
          <p:cNvSpPr/>
          <p:nvPr/>
        </p:nvSpPr>
        <p:spPr>
          <a:xfrm>
            <a:off x="3290924" y="6461190"/>
            <a:ext cx="6162109" cy="13275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81" tIns="68591" rIns="137181" bIns="68591" rtlCol="0" anchor="ctr"/>
          <a:lstStyle/>
          <a:p>
            <a:pPr algn="ctr" defTabSz="1371783"/>
            <a:r>
              <a:rPr lang="en-US" sz="2700" b="1">
                <a:solidFill>
                  <a:srgbClr val="FFFFFF"/>
                </a:solidFill>
                <a:latin typeface="Calibri"/>
                <a:cs typeface="Calibri"/>
              </a:rPr>
              <a:t>Wholesale market </a:t>
            </a:r>
            <a:r>
              <a:rPr lang="en-US" sz="2700">
                <a:solidFill>
                  <a:srgbClr val="FFFFFF"/>
                </a:solidFill>
                <a:latin typeface="Calibri"/>
                <a:cs typeface="Calibri"/>
              </a:rPr>
              <a:t>foundation</a:t>
            </a:r>
          </a:p>
        </p:txBody>
      </p:sp>
    </p:spTree>
    <p:extLst>
      <p:ext uri="{BB962C8B-B14F-4D97-AF65-F5344CB8AC3E}">
        <p14:creationId xmlns:p14="http://schemas.microsoft.com/office/powerpoint/2010/main" val="36023062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16522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614EDB79-2257-49E9-B029-E8F2D8F42D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293" y="777655"/>
            <a:ext cx="16131414" cy="8733278"/>
          </a:xfrm>
          <a:prstGeom prst="rect">
            <a:avLst/>
          </a:prstGeom>
        </p:spPr>
      </p:pic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3587F583-7562-5A91-175B-AEA3243AB2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69828" y="155884"/>
            <a:ext cx="8951976" cy="989499"/>
          </a:xfrm>
        </p:spPr>
        <p:txBody>
          <a:bodyPr/>
          <a:lstStyle/>
          <a:p>
            <a:pPr algn="ctr"/>
            <a:r>
              <a:rPr lang="es-ES" sz="4800">
                <a:solidFill>
                  <a:schemeClr val="accent1"/>
                </a:solidFill>
              </a:rPr>
              <a:t>www.nemo-committee.eu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8A5EA71E-DE90-46B7-819E-E0E22AFCA2DE}"/>
              </a:ext>
            </a:extLst>
          </p:cNvPr>
          <p:cNvSpPr txBox="1"/>
          <p:nvPr/>
        </p:nvSpPr>
        <p:spPr>
          <a:xfrm>
            <a:off x="2134926" y="3633011"/>
            <a:ext cx="221841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s-ES" sz="6600" b="1">
                <a:solidFill>
                  <a:srgbClr val="4472C4"/>
                </a:solidFill>
                <a:latin typeface="Calibri"/>
              </a:rPr>
              <a:t>SDAC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300B9F09-1FCF-4AB3-AA33-15CC32541FBD}"/>
              </a:ext>
            </a:extLst>
          </p:cNvPr>
          <p:cNvSpPr txBox="1"/>
          <p:nvPr/>
        </p:nvSpPr>
        <p:spPr>
          <a:xfrm>
            <a:off x="9548817" y="3564202"/>
            <a:ext cx="221841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371600"/>
            <a:r>
              <a:rPr lang="es-ES" sz="6600" b="1">
                <a:solidFill>
                  <a:srgbClr val="4472C4"/>
                </a:solidFill>
                <a:latin typeface="Calibri"/>
              </a:rPr>
              <a:t>SIDC</a:t>
            </a:r>
          </a:p>
        </p:txBody>
      </p:sp>
    </p:spTree>
    <p:extLst>
      <p:ext uri="{BB962C8B-B14F-4D97-AF65-F5344CB8AC3E}">
        <p14:creationId xmlns:p14="http://schemas.microsoft.com/office/powerpoint/2010/main" val="10038992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27">
            <a:extLst>
              <a:ext uri="{FF2B5EF4-FFF2-40B4-BE49-F238E27FC236}">
                <a16:creationId xmlns:a16="http://schemas.microsoft.com/office/drawing/2014/main" id="{86FAEDBE-A2EC-A957-4FA8-E5358331F5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997" y="1360083"/>
            <a:ext cx="11473840" cy="1656689"/>
          </a:xfrm>
        </p:spPr>
        <p:txBody>
          <a:bodyPr>
            <a:normAutofit fontScale="90000"/>
          </a:bodyPr>
          <a:lstStyle/>
          <a:p>
            <a:r>
              <a:rPr lang="en-GB"/>
              <a:t>Market Design: Long-term adjustments or tweaks?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FF4B61D0-9742-0F27-E0F9-FE81B769D6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397" y="3840421"/>
            <a:ext cx="7119578" cy="931603"/>
          </a:xfrm>
        </p:spPr>
        <p:txBody>
          <a:bodyPr/>
          <a:lstStyle/>
          <a:p>
            <a:r>
              <a:rPr lang="en-GB" sz="3600"/>
              <a:t>Questions from the audience </a:t>
            </a:r>
          </a:p>
          <a:p>
            <a:pPr lvl="1">
              <a:buNone/>
            </a:pPr>
            <a:br>
              <a:rPr lang="en-GB"/>
            </a:br>
            <a:br>
              <a:rPr lang="en-GB" sz="1950"/>
            </a:br>
            <a:endParaRPr lang="en-BE" sz="1950"/>
          </a:p>
          <a:p>
            <a:endParaRPr lang="en-GB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FF3BCEE4-2A5B-76C0-B40D-28B345935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09997" y="726934"/>
            <a:ext cx="11473840" cy="633149"/>
          </a:xfrm>
        </p:spPr>
        <p:txBody>
          <a:bodyPr/>
          <a:lstStyle/>
          <a:p>
            <a:r>
              <a:rPr lang="en-GB"/>
              <a:t>SESSION two</a:t>
            </a:r>
          </a:p>
        </p:txBody>
      </p:sp>
    </p:spTree>
    <p:extLst>
      <p:ext uri="{BB962C8B-B14F-4D97-AF65-F5344CB8AC3E}">
        <p14:creationId xmlns:p14="http://schemas.microsoft.com/office/powerpoint/2010/main" val="2431562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A8692D20-70F3-5EBA-5F91-D5D1D0285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osing Remark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1D49A82E-FB2C-B993-0FBB-9E20253BFF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8071" y="3660405"/>
            <a:ext cx="11473840" cy="2768970"/>
          </a:xfrm>
        </p:spPr>
        <p:txBody>
          <a:bodyPr/>
          <a:lstStyle/>
          <a:p>
            <a:r>
              <a:rPr lang="en-GB" err="1"/>
              <a:t>Alda</a:t>
            </a:r>
            <a:r>
              <a:rPr lang="en-GB"/>
              <a:t> </a:t>
            </a:r>
            <a:r>
              <a:rPr lang="en-GB" err="1"/>
              <a:t>Ozola</a:t>
            </a:r>
            <a:endParaRPr lang="en-GB"/>
          </a:p>
          <a:p>
            <a:pPr lvl="1"/>
            <a:r>
              <a:rPr lang="en-GB" err="1"/>
              <a:t>ViCE</a:t>
            </a:r>
            <a:r>
              <a:rPr lang="en-GB"/>
              <a:t> President</a:t>
            </a:r>
            <a:r>
              <a:rPr lang="en-BE"/>
              <a:t>, </a:t>
            </a:r>
            <a:r>
              <a:rPr lang="en-GB"/>
              <a:t>CEER </a:t>
            </a:r>
          </a:p>
        </p:txBody>
      </p:sp>
    </p:spTree>
    <p:extLst>
      <p:ext uri="{BB962C8B-B14F-4D97-AF65-F5344CB8AC3E}">
        <p14:creationId xmlns:p14="http://schemas.microsoft.com/office/powerpoint/2010/main" val="8335708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0890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27">
            <a:extLst>
              <a:ext uri="{FF2B5EF4-FFF2-40B4-BE49-F238E27FC236}">
                <a16:creationId xmlns:a16="http://schemas.microsoft.com/office/drawing/2014/main" id="{86FAEDBE-A2EC-A957-4FA8-E5358331F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Emergency Measures: How to cope with high energy prices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FF4B61D0-9742-0F27-E0F9-FE81B769D6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58" y="3817567"/>
            <a:ext cx="11473840" cy="547772"/>
          </a:xfrm>
        </p:spPr>
        <p:txBody>
          <a:bodyPr/>
          <a:lstStyle/>
          <a:p>
            <a:pPr lvl="2"/>
            <a:r>
              <a:rPr lang="en-GB" sz="2400"/>
              <a:t>Video Address by</a:t>
            </a:r>
          </a:p>
          <a:p>
            <a:r>
              <a:rPr lang="en-GB" err="1"/>
              <a:t>Kostyantyn</a:t>
            </a:r>
            <a:r>
              <a:rPr lang="en-GB"/>
              <a:t> </a:t>
            </a:r>
            <a:r>
              <a:rPr lang="en-GB" err="1"/>
              <a:t>Uschapovskyi</a:t>
            </a:r>
            <a:endParaRPr lang="en-GB"/>
          </a:p>
          <a:p>
            <a:pPr lvl="1"/>
            <a:r>
              <a:rPr lang="en-GB"/>
              <a:t>Chair</a:t>
            </a:r>
            <a:r>
              <a:rPr lang="en-BE"/>
              <a:t>,</a:t>
            </a:r>
            <a:r>
              <a:rPr lang="en-GB"/>
              <a:t> </a:t>
            </a:r>
            <a:r>
              <a:rPr lang="en-GB" err="1"/>
              <a:t>neurc</a:t>
            </a:r>
            <a:endParaRPr lang="en-GB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FF3BCEE4-2A5B-76C0-B40D-28B345935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/>
              <a:t>SESSION ONE</a:t>
            </a:r>
          </a:p>
        </p:txBody>
      </p:sp>
    </p:spTree>
    <p:extLst>
      <p:ext uri="{BB962C8B-B14F-4D97-AF65-F5344CB8AC3E}">
        <p14:creationId xmlns:p14="http://schemas.microsoft.com/office/powerpoint/2010/main" val="2333103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611B85-74DA-6362-4E48-DF386734469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369785"/>
            <a:ext cx="18288000" cy="914399"/>
          </a:xfrm>
        </p:spPr>
        <p:txBody>
          <a:bodyPr/>
          <a:lstStyle/>
          <a:p>
            <a:pPr algn="ctr"/>
            <a:r>
              <a:rPr lang="en-US" b="0"/>
              <a:t>Video Address by </a:t>
            </a:r>
            <a:r>
              <a:rPr lang="en-US" b="0" err="1"/>
              <a:t>Kostyantyn</a:t>
            </a:r>
            <a:r>
              <a:rPr lang="en-US" b="0"/>
              <a:t> </a:t>
            </a:r>
            <a:r>
              <a:rPr lang="en-US" b="0" err="1"/>
              <a:t>Uschapovskyi</a:t>
            </a:r>
            <a:r>
              <a:rPr lang="en-BE" b="0"/>
              <a:t>,</a:t>
            </a:r>
            <a:br>
              <a:rPr lang="en-BE" b="0"/>
            </a:br>
            <a:r>
              <a:rPr lang="en-BE" b="0"/>
              <a:t>C</a:t>
            </a:r>
            <a:r>
              <a:rPr lang="en-US" b="0"/>
              <a:t>hair</a:t>
            </a:r>
            <a:r>
              <a:rPr lang="en-BE" b="0"/>
              <a:t> OF THE </a:t>
            </a:r>
            <a:r>
              <a:rPr lang="en-US" b="0"/>
              <a:t>National Energy and Utilities Regulatory Commission</a:t>
            </a:r>
            <a:r>
              <a:rPr lang="en-BE" b="0"/>
              <a:t> OF UKRAINE</a:t>
            </a:r>
            <a:r>
              <a:rPr lang="en-US" b="0"/>
              <a:t> (NEURC)</a:t>
            </a:r>
          </a:p>
          <a:p>
            <a:endParaRPr lang="en-BE"/>
          </a:p>
        </p:txBody>
      </p:sp>
      <p:pic>
        <p:nvPicPr>
          <p:cNvPr id="5" name="Picture 4" descr="A person sitting in a chair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D5958EDF-6D72-1B13-1FF9-A2DB596FFF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8090" y="2488479"/>
            <a:ext cx="10851820" cy="5654530"/>
          </a:xfrm>
          <a:prstGeom prst="rect">
            <a:avLst/>
          </a:prstGeom>
        </p:spPr>
      </p:pic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CADD84D2-3E58-BA80-85B1-E98164287D16}"/>
              </a:ext>
            </a:extLst>
          </p:cNvPr>
          <p:cNvSpPr txBox="1">
            <a:spLocks/>
          </p:cNvSpPr>
          <p:nvPr/>
        </p:nvSpPr>
        <p:spPr>
          <a:xfrm>
            <a:off x="4180763" y="8918803"/>
            <a:ext cx="9926473" cy="49666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marL="98850" indent="0" algn="l" defTabSz="1371600" rtl="0" eaLnBrk="1" latinLnBrk="0" hangingPunct="1">
              <a:lnSpc>
                <a:spcPct val="90000"/>
              </a:lnSpc>
              <a:spcBef>
                <a:spcPts val="2040"/>
              </a:spcBef>
              <a:buClr>
                <a:srgbClr val="BCCEE7"/>
              </a:buClr>
              <a:buSzPct val="70000"/>
              <a:buFont typeface="Arial" panose="020B0604020202020204" pitchFamily="34" charset="0"/>
              <a:buNone/>
              <a:tabLst/>
              <a:defRPr sz="2148" b="1" kern="1200" cap="all" baseline="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60206" indent="-85216" algn="l" defTabSz="1371600" rtl="0" eaLnBrk="1" latinLnBrk="0" hangingPunct="1">
              <a:lnSpc>
                <a:spcPct val="100000"/>
              </a:lnSpc>
              <a:spcBef>
                <a:spcPts val="967"/>
              </a:spcBef>
              <a:spcAft>
                <a:spcPts val="859"/>
              </a:spcAft>
              <a:buClr>
                <a:srgbClr val="BCCEE7"/>
              </a:buClr>
              <a:buSzPct val="50000"/>
              <a:buFont typeface="Arial" panose="020B0604020202020204" pitchFamily="34" charset="0"/>
              <a:buChar char="•"/>
              <a:tabLst/>
              <a:defRPr sz="3250" b="1" kern="120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8850" indent="0" algn="l" defTabSz="1371600" rtl="0" eaLnBrk="1" latinLnBrk="0" hangingPunct="1">
              <a:lnSpc>
                <a:spcPct val="90000"/>
              </a:lnSpc>
              <a:spcBef>
                <a:spcPts val="1611"/>
              </a:spcBef>
              <a:buClr>
                <a:srgbClr val="BCCEE7"/>
              </a:buClr>
              <a:buFont typeface="Arial" panose="020B0604020202020204" pitchFamily="34" charset="0"/>
              <a:buChar char="•"/>
              <a:tabLst/>
              <a:defRPr sz="1501" b="1" kern="1200" cap="all" spc="322" baseline="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8113" indent="0" algn="l" defTabSz="1371600" rtl="0" eaLnBrk="1" latinLnBrk="0" hangingPunct="1">
              <a:lnSpc>
                <a:spcPct val="80000"/>
              </a:lnSpc>
              <a:spcBef>
                <a:spcPts val="750"/>
              </a:spcBef>
              <a:buClr>
                <a:srgbClr val="BCCEE7"/>
              </a:buClr>
              <a:buSzPct val="50000"/>
              <a:buFont typeface="Arial" panose="020B0604020202020204" pitchFamily="34" charset="0"/>
              <a:buChar char="•"/>
              <a:tabLst/>
              <a:defRPr sz="1954" kern="120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0861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rgbClr val="0045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7719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7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5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300" indent="-342900" algn="l" defTabSz="13716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CESS THE Video</a:t>
            </a:r>
            <a:endParaRPr lang="en-BE" b="0"/>
          </a:p>
        </p:txBody>
      </p:sp>
    </p:spTree>
    <p:extLst>
      <p:ext uri="{BB962C8B-B14F-4D97-AF65-F5344CB8AC3E}">
        <p14:creationId xmlns:p14="http://schemas.microsoft.com/office/powerpoint/2010/main" val="33759862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re 27">
            <a:extLst>
              <a:ext uri="{FF2B5EF4-FFF2-40B4-BE49-F238E27FC236}">
                <a16:creationId xmlns:a16="http://schemas.microsoft.com/office/drawing/2014/main" id="{86FAEDBE-A2EC-A957-4FA8-E5358331F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/>
              <a:t>Emergency Measures: How to cope with high energy prices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FF4B61D0-9742-0F27-E0F9-FE81B769D6D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r>
              <a:rPr lang="en-GB" sz="2400"/>
              <a:t>Moderated by</a:t>
            </a:r>
          </a:p>
          <a:p>
            <a:r>
              <a:rPr lang="en-GB"/>
              <a:t>Dennis Hesseling</a:t>
            </a:r>
          </a:p>
          <a:p>
            <a:pPr lvl="1"/>
            <a:r>
              <a:rPr lang="en-GB"/>
              <a:t>Head of department infrastructure, gas and retail, acer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FF3BCEE4-2A5B-76C0-B40D-28B345935E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/>
              <a:t>SESSION O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A26CFC-E60C-BD97-07DB-8175068F2EA7}"/>
              </a:ext>
            </a:extLst>
          </p:cNvPr>
          <p:cNvSpPr txBox="1"/>
          <p:nvPr/>
        </p:nvSpPr>
        <p:spPr>
          <a:xfrm>
            <a:off x="781409" y="5549893"/>
            <a:ext cx="5133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ssion One Panellis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93CF914-4C27-50C9-793F-73EFDBDED1C2}"/>
              </a:ext>
            </a:extLst>
          </p:cNvPr>
          <p:cNvSpPr txBox="1"/>
          <p:nvPr/>
        </p:nvSpPr>
        <p:spPr>
          <a:xfrm>
            <a:off x="781409" y="6079147"/>
            <a:ext cx="9144000" cy="1257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812" b="0" i="0" u="none" strike="noStrike" kern="1200" cap="none" spc="0" normalizeH="0" baseline="0" noProof="0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dro Verdelho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80" b="0" i="0" u="none" strike="noStrike" kern="1200" cap="none" spc="0" normalizeH="0" baseline="0" noProof="0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CE PRESIDENT, CEER and </a:t>
            </a:r>
            <a:r>
              <a:rPr kumimoji="0" lang="en-US" sz="1880" b="0" i="0" u="none" strike="noStrike" kern="1200" cap="none" spc="0" normalizeH="0" baseline="0" noProof="0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ER/CEER GAS WORKING GROUP CHAI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8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A9ABF44-0825-A2D4-FE42-48FAFF936AD3}"/>
              </a:ext>
            </a:extLst>
          </p:cNvPr>
          <p:cNvSpPr txBox="1"/>
          <p:nvPr/>
        </p:nvSpPr>
        <p:spPr>
          <a:xfrm>
            <a:off x="781409" y="7100516"/>
            <a:ext cx="4362091" cy="963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10" b="0" i="0" u="none" strike="noStrike" kern="1200" cap="none" spc="0" normalizeH="0" baseline="0" noProof="0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nique </a:t>
            </a:r>
            <a:r>
              <a:rPr kumimoji="0" lang="en-US" sz="3810" b="0" i="0" u="none" strike="noStrike" kern="1200" cap="none" spc="0" normalizeH="0" baseline="0" noProof="0" err="1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yens</a:t>
            </a:r>
            <a:endParaRPr kumimoji="0" lang="en-US" sz="3810" b="0" i="0" u="none" strike="noStrike" kern="1200" cap="none" spc="0" normalizeH="0" baseline="0" noProof="0">
              <a:ln>
                <a:noFill/>
              </a:ln>
              <a:solidFill>
                <a:srgbClr val="00457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50" b="0" i="0" u="none" strike="noStrike" kern="1200" cap="none" spc="0" normalizeH="0" baseline="0" noProof="0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RECTOR GENERAL, BEUC</a:t>
            </a:r>
            <a:endParaRPr kumimoji="0" lang="en-BE" sz="1850" b="0" i="0" u="none" strike="noStrike" kern="1200" cap="none" spc="0" normalizeH="0" baseline="0" noProof="0">
              <a:ln>
                <a:noFill/>
              </a:ln>
              <a:solidFill>
                <a:srgbClr val="00457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921C2B-3964-84D0-E452-CD635EEB5248}"/>
              </a:ext>
            </a:extLst>
          </p:cNvPr>
          <p:cNvSpPr txBox="1"/>
          <p:nvPr/>
        </p:nvSpPr>
        <p:spPr>
          <a:xfrm>
            <a:off x="781409" y="8116948"/>
            <a:ext cx="3976328" cy="963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10" b="0" i="0" u="none" strike="noStrike" kern="1200" cap="none" spc="0" normalizeH="0" baseline="0" noProof="0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ncenzo Ranier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50" b="0" i="0" u="none" strike="noStrike" kern="1200" cap="none" spc="0" normalizeH="0" baseline="0" noProof="0">
                <a:ln>
                  <a:noFill/>
                </a:ln>
                <a:solidFill>
                  <a:srgbClr val="00457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IDENT, EU DSO Entity</a:t>
            </a:r>
          </a:p>
        </p:txBody>
      </p:sp>
    </p:spTree>
    <p:extLst>
      <p:ext uri="{BB962C8B-B14F-4D97-AF65-F5344CB8AC3E}">
        <p14:creationId xmlns:p14="http://schemas.microsoft.com/office/powerpoint/2010/main" val="1796017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A107D70-9816-2D4B-8551-36AD55B23A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72395" y="1508357"/>
            <a:ext cx="9558330" cy="4910043"/>
          </a:xfrm>
        </p:spPr>
        <p:txBody>
          <a:bodyPr>
            <a:normAutofit/>
          </a:bodyPr>
          <a:lstStyle/>
          <a:p>
            <a:r>
              <a:rPr lang="en-GB"/>
              <a:t>Emergency measures: how to cope with high energy price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E9054AC-5583-3849-A0B3-867DB13359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72395" y="7258963"/>
            <a:ext cx="9674205" cy="1906802"/>
          </a:xfrm>
        </p:spPr>
        <p:txBody>
          <a:bodyPr>
            <a:normAutofit fontScale="85000" lnSpcReduction="20000"/>
          </a:bodyPr>
          <a:lstStyle/>
          <a:p>
            <a:r>
              <a:rPr lang="en-GB"/>
              <a:t>CEER Annual Conference</a:t>
            </a:r>
          </a:p>
          <a:p>
            <a:r>
              <a:rPr lang="en-GB"/>
              <a:t>13 December 2022 - Brussels</a:t>
            </a:r>
          </a:p>
          <a:p>
            <a:endParaRPr lang="en-GB"/>
          </a:p>
          <a:p>
            <a:r>
              <a:rPr lang="en-GB"/>
              <a:t>Dennis </a:t>
            </a:r>
            <a:r>
              <a:rPr lang="en-GB" err="1"/>
              <a:t>Hesseling</a:t>
            </a:r>
            <a:r>
              <a:rPr lang="en-GB"/>
              <a:t>, Head of Infrastructure, Gas &amp; Retail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E3BE41-F7EC-9145-952A-44E351F504A9}"/>
              </a:ext>
            </a:extLst>
          </p:cNvPr>
          <p:cNvSpPr txBox="1"/>
          <p:nvPr/>
        </p:nvSpPr>
        <p:spPr>
          <a:xfrm>
            <a:off x="9601200" y="8925101"/>
            <a:ext cx="0" cy="0"/>
          </a:xfrm>
          <a:prstGeom prst="rect">
            <a:avLst/>
          </a:prstGeom>
        </p:spPr>
        <p:txBody>
          <a:bodyPr vert="horz" wrap="none" lIns="137160" tIns="68580" rIns="137160" bIns="68580" rtlCol="0" anchor="t">
            <a:normAutofit fontScale="25000" lnSpcReduction="20000"/>
          </a:bodyPr>
          <a:lstStyle/>
          <a:p>
            <a:pPr defTabSz="685800"/>
            <a:endParaRPr lang="en-SI" sz="2700" b="1">
              <a:solidFill>
                <a:srgbClr val="004FE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929542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26043" y="794"/>
            <a:ext cx="13417958" cy="1620000"/>
          </a:xfrm>
        </p:spPr>
        <p:txBody>
          <a:bodyPr>
            <a:normAutofit/>
          </a:bodyPr>
          <a:lstStyle/>
          <a:p>
            <a:r>
              <a:rPr lang="en-GB"/>
              <a:t>Gas and electricity supply challenges drive prices up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58589" y="578311"/>
            <a:ext cx="4244742" cy="1443789"/>
          </a:xfrm>
          <a:prstGeom prst="rect">
            <a:avLst/>
          </a:prstGeom>
        </p:spPr>
        <p:txBody>
          <a:bodyPr vert="horz" wrap="square" lIns="137160" tIns="68580" rIns="137160" bIns="68580" rtlCol="0" anchor="t">
            <a:normAutofit/>
          </a:bodyPr>
          <a:lstStyle/>
          <a:p>
            <a:pPr defTabSz="685800"/>
            <a:endParaRPr lang="en-GB" sz="2700" b="1">
              <a:solidFill>
                <a:srgbClr val="004FEE"/>
              </a:solidFill>
              <a:latin typeface="Arial" panose="020B0604020202020204"/>
            </a:endParaRPr>
          </a:p>
        </p:txBody>
      </p:sp>
      <p:graphicFrame>
        <p:nvGraphicFramePr>
          <p:cNvPr id="15" name="Chart 14"/>
          <p:cNvGraphicFramePr>
            <a:graphicFrameLocks/>
          </p:cNvGraphicFramePr>
          <p:nvPr/>
        </p:nvGraphicFramePr>
        <p:xfrm>
          <a:off x="341318" y="2392653"/>
          <a:ext cx="16902683" cy="6889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465CF207-E8E2-9F47-BBC0-F7EDFE5CA121}"/>
              </a:ext>
            </a:extLst>
          </p:cNvPr>
          <p:cNvSpPr txBox="1"/>
          <p:nvPr/>
        </p:nvSpPr>
        <p:spPr>
          <a:xfrm>
            <a:off x="341318" y="9282460"/>
            <a:ext cx="16086086" cy="108000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defTabSz="685800">
              <a:lnSpc>
                <a:spcPct val="125000"/>
              </a:lnSpc>
            </a:pPr>
            <a:r>
              <a:rPr lang="en-GB" sz="15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ACER calculation based on </a:t>
            </a:r>
            <a:r>
              <a:rPr lang="en-GB" sz="1500" i="1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ts</a:t>
            </a:r>
            <a:r>
              <a:rPr lang="en-GB" sz="15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500" i="1" spc="-8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price data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H="1">
            <a:off x="9368783" y="5570948"/>
            <a:ext cx="7637" cy="42033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890911" y="1771405"/>
            <a:ext cx="16674215" cy="494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71600">
              <a:lnSpc>
                <a:spcPct val="120000"/>
              </a:lnSpc>
              <a:spcBef>
                <a:spcPts val="1500"/>
              </a:spcBef>
              <a:buClr>
                <a:srgbClr val="004FEE"/>
              </a:buClr>
            </a:pPr>
            <a:r>
              <a:rPr lang="en-GB"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city &amp; natural gas price evolution, 2021-2022 (Month Ahead)</a:t>
            </a:r>
          </a:p>
        </p:txBody>
      </p:sp>
    </p:spTree>
    <p:extLst>
      <p:ext uri="{BB962C8B-B14F-4D97-AF65-F5344CB8AC3E}">
        <p14:creationId xmlns:p14="http://schemas.microsoft.com/office/powerpoint/2010/main" val="2632071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0" y="794"/>
            <a:ext cx="13815000" cy="1620000"/>
          </a:xfrm>
        </p:spPr>
        <p:txBody>
          <a:bodyPr>
            <a:normAutofit/>
          </a:bodyPr>
          <a:lstStyle/>
          <a:p>
            <a:r>
              <a:rPr lang="en-GB" sz="4050"/>
              <a:t>Current gas storage ‘success’ has come with a price</a:t>
            </a:r>
          </a:p>
        </p:txBody>
      </p:sp>
      <p:sp>
        <p:nvSpPr>
          <p:cNvPr id="6" name="Rectangle 5"/>
          <p:cNvSpPr/>
          <p:nvPr/>
        </p:nvSpPr>
        <p:spPr>
          <a:xfrm>
            <a:off x="1619882" y="1855539"/>
            <a:ext cx="14758467" cy="8309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 defTabSz="685800">
              <a:defRPr/>
            </a:pPr>
            <a:r>
              <a:rPr lang="en-GB" sz="2400" b="1">
                <a:solidFill>
                  <a:srgbClr val="000000"/>
                </a:solidFill>
                <a:latin typeface="Arial" panose="020B0604020202020204"/>
              </a:rPr>
              <a:t>EU</a:t>
            </a:r>
            <a:r>
              <a:rPr lang="en-GB" sz="2400" b="1" baseline="3000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lang="en-GB" sz="2400" b="1">
                <a:solidFill>
                  <a:srgbClr val="000000"/>
                </a:solidFill>
                <a:latin typeface="Arial" panose="020B0604020202020204"/>
              </a:rPr>
              <a:t> gas storage build and LNG imports – April to October (2016 - 2022)</a:t>
            </a:r>
            <a:endParaRPr lang="en-US" sz="2700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en-GB" sz="2400" b="1">
                <a:solidFill>
                  <a:srgbClr val="3678BD"/>
                </a:solidFill>
                <a:latin typeface="Arial" panose="020B0604020202020204"/>
              </a:rPr>
              <a:t>   </a:t>
            </a:r>
            <a:endParaRPr lang="en-GB" sz="2400" b="1">
              <a:solidFill>
                <a:srgbClr val="3678BD"/>
              </a:solidFill>
              <a:latin typeface="Arial" panose="020B0604020202020204"/>
              <a:cs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61697" y="8373909"/>
            <a:ext cx="161281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n-GB" sz="2400" b="1">
                <a:solidFill>
                  <a:srgbClr val="000000"/>
                </a:solidFill>
                <a:latin typeface="Arial" panose="020B0604020202020204"/>
              </a:rPr>
              <a:t>After significantly higher injections than in 2021, EU gas storages are currently 95% full but reportedly at eight times historical costs (est. 50 billion euros)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97" y="2328166"/>
            <a:ext cx="16282305" cy="560375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563028" y="2795200"/>
            <a:ext cx="2602196" cy="1477328"/>
          </a:xfrm>
          <a:prstGeom prst="rect">
            <a:avLst/>
          </a:prstGeom>
          <a:solidFill>
            <a:schemeClr val="bg1"/>
          </a:solidFill>
          <a:ln>
            <a:solidFill>
              <a:srgbClr val="7F9DD2"/>
            </a:solidFill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GB" u="sng">
                <a:solidFill>
                  <a:srgbClr val="C8C8C8">
                    <a:lumMod val="50000"/>
                  </a:srgbClr>
                </a:solidFill>
                <a:latin typeface="Arial" panose="020B0604020202020204"/>
              </a:rPr>
              <a:t>Record LNG imports to the EU (+56%</a:t>
            </a:r>
            <a:r>
              <a:rPr lang="en-GB" u="sng" baseline="30000">
                <a:solidFill>
                  <a:srgbClr val="C8C8C8">
                    <a:lumMod val="50000"/>
                  </a:srgbClr>
                </a:solidFill>
                <a:latin typeface="Arial" panose="020B0604020202020204"/>
              </a:rPr>
              <a:t>2</a:t>
            </a:r>
            <a:r>
              <a:rPr lang="en-GB" u="sng">
                <a:solidFill>
                  <a:srgbClr val="C8C8C8">
                    <a:lumMod val="50000"/>
                  </a:srgbClr>
                </a:solidFill>
                <a:latin typeface="Arial" panose="020B0604020202020204"/>
              </a:rPr>
              <a:t>) </a:t>
            </a:r>
            <a:r>
              <a:rPr lang="en-GB">
                <a:solidFill>
                  <a:srgbClr val="C8C8C8">
                    <a:lumMod val="50000"/>
                  </a:srgbClr>
                </a:solidFill>
                <a:latin typeface="Arial" panose="020B0604020202020204"/>
              </a:rPr>
              <a:t>achieved by sourcing cargoes at a premium to other global buye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4528226" y="6666034"/>
            <a:ext cx="3140931" cy="923330"/>
          </a:xfrm>
          <a:prstGeom prst="rect">
            <a:avLst/>
          </a:prstGeom>
          <a:noFill/>
          <a:ln>
            <a:solidFill>
              <a:srgbClr val="CBDAF0"/>
            </a:solidFill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GB">
                <a:solidFill>
                  <a:srgbClr val="C8C8C8">
                    <a:lumMod val="50000"/>
                  </a:srgbClr>
                </a:solidFill>
                <a:latin typeface="Arial" panose="020B0604020202020204"/>
              </a:rPr>
              <a:t>Strong competition for gas to fill storage has contributed to high spot prices at EU hub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5CF207-E8E2-9F47-BBC0-F7EDFE5CA121}"/>
              </a:ext>
            </a:extLst>
          </p:cNvPr>
          <p:cNvSpPr txBox="1"/>
          <p:nvPr/>
        </p:nvSpPr>
        <p:spPr>
          <a:xfrm>
            <a:off x="14747" y="9533840"/>
            <a:ext cx="16086086" cy="507018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defTabSz="685800">
              <a:lnSpc>
                <a:spcPct val="125000"/>
              </a:lnSpc>
              <a:defRPr/>
            </a:pPr>
            <a:r>
              <a:rPr lang="en-GB" sz="15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GIE (storage status as of 20 November 2022), Reuter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5CF207-E8E2-9F47-BBC0-F7EDFE5CA121}"/>
              </a:ext>
            </a:extLst>
          </p:cNvPr>
          <p:cNvSpPr txBox="1"/>
          <p:nvPr/>
        </p:nvSpPr>
        <p:spPr>
          <a:xfrm>
            <a:off x="12607" y="9788078"/>
            <a:ext cx="16086086" cy="507018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defTabSz="685800">
              <a:lnSpc>
                <a:spcPct val="125000"/>
              </a:lnSpc>
              <a:defRPr/>
            </a:pPr>
            <a:r>
              <a:rPr lang="en-GB" sz="15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s: (1) EU 27; (2) compared with average imports in corresponding months between 2019 and 2021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10165223" y="3482143"/>
            <a:ext cx="2717562" cy="8365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12" idx="1"/>
          </p:cNvCxnSpPr>
          <p:nvPr/>
        </p:nvCxnSpPr>
        <p:spPr>
          <a:xfrm flipH="1" flipV="1">
            <a:off x="13305804" y="5935852"/>
            <a:ext cx="1222422" cy="11918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9157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6823" y="41923"/>
            <a:ext cx="14167172" cy="1620000"/>
          </a:xfrm>
        </p:spPr>
        <p:txBody>
          <a:bodyPr>
            <a:noAutofit/>
          </a:bodyPr>
          <a:lstStyle/>
          <a:p>
            <a:r>
              <a:rPr lang="en-GB" sz="4050"/>
              <a:t>… and price expectations for coming years remain high</a:t>
            </a:r>
          </a:p>
        </p:txBody>
      </p:sp>
      <p:sp>
        <p:nvSpPr>
          <p:cNvPr id="3" name="Rectangle 2"/>
          <p:cNvSpPr/>
          <p:nvPr/>
        </p:nvSpPr>
        <p:spPr>
          <a:xfrm>
            <a:off x="890911" y="1771405"/>
            <a:ext cx="160426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/>
            <a:r>
              <a:rPr lang="en-GB" sz="2400" b="1">
                <a:solidFill>
                  <a:srgbClr val="000000"/>
                </a:solidFill>
                <a:latin typeface="Arial" panose="020B0604020202020204"/>
              </a:rPr>
              <a:t>Evolution of gas (TTF) forward prices comparing the contractual outlook (October 2021 - November 2022) </a:t>
            </a:r>
          </a:p>
        </p:txBody>
      </p:sp>
      <p:graphicFrame>
        <p:nvGraphicFramePr>
          <p:cNvPr id="18" name="Chart 17"/>
          <p:cNvGraphicFramePr>
            <a:graphicFrameLocks/>
          </p:cNvGraphicFramePr>
          <p:nvPr/>
        </p:nvGraphicFramePr>
        <p:xfrm>
          <a:off x="1722438" y="2408693"/>
          <a:ext cx="14803344" cy="6061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Left Arrow 5"/>
          <p:cNvSpPr/>
          <p:nvPr/>
        </p:nvSpPr>
        <p:spPr>
          <a:xfrm>
            <a:off x="16274897" y="5649427"/>
            <a:ext cx="1092836" cy="49004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27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11141040" y="7973015"/>
            <a:ext cx="4683981" cy="497400"/>
          </a:xfrm>
          <a:prstGeom prst="roundRect">
            <a:avLst/>
          </a:prstGeom>
          <a:noFill/>
          <a:ln w="3810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27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3881" y="9677094"/>
            <a:ext cx="360720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spcBef>
                <a:spcPts val="900"/>
              </a:spcBef>
              <a:spcAft>
                <a:spcPts val="1800"/>
              </a:spcAft>
            </a:pPr>
            <a:r>
              <a:rPr lang="en-GB" sz="1500" i="1" spc="-8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Source:</a:t>
            </a:r>
            <a:r>
              <a:rPr lang="en-GB" sz="15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ER calculation based on ICE</a:t>
            </a:r>
            <a:endParaRPr lang="en-GB" sz="1500" i="1" spc="-8">
              <a:solidFill>
                <a:srgbClr val="000000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6721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W3_RCIeVZhxcKTHtn90Q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ersonalized Cover Slides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1BDBE"/>
      </a:accent1>
      <a:accent2>
        <a:srgbClr val="F2B516"/>
      </a:accent2>
      <a:accent3>
        <a:srgbClr val="5FBB46"/>
      </a:accent3>
      <a:accent4>
        <a:srgbClr val="165C99"/>
      </a:accent4>
      <a:accent5>
        <a:srgbClr val="F15B4F"/>
      </a:accent5>
      <a:accent6>
        <a:srgbClr val="083050"/>
      </a:accent6>
      <a:hlink>
        <a:srgbClr val="0B2F4E"/>
      </a:hlink>
      <a:folHlink>
        <a:srgbClr val="0B2F4E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laeys-bram-rap-presentation-blank-2020-  -  Read-Only" id="{80AA0521-958E-4D45-880E-DC0318BB3EB5}" vid="{4915A8EB-2534-4796-A9EE-D91239494BC9}"/>
    </a:ext>
  </a:extLst>
</a:theme>
</file>

<file path=ppt/theme/theme3.xml><?xml version="1.0" encoding="utf-8"?>
<a:theme xmlns:a="http://schemas.openxmlformats.org/drawingml/2006/main" name="Body Slides">
  <a:themeElements>
    <a:clrScheme name="RAP Color Them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1BDBE"/>
      </a:accent1>
      <a:accent2>
        <a:srgbClr val="F2B516"/>
      </a:accent2>
      <a:accent3>
        <a:srgbClr val="5FBB46"/>
      </a:accent3>
      <a:accent4>
        <a:srgbClr val="165C99"/>
      </a:accent4>
      <a:accent5>
        <a:srgbClr val="F15B4F"/>
      </a:accent5>
      <a:accent6>
        <a:srgbClr val="083050"/>
      </a:accent6>
      <a:hlink>
        <a:srgbClr val="0B2F4E"/>
      </a:hlink>
      <a:folHlink>
        <a:srgbClr val="0B2F4E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/>
      <a:lstStyle>
        <a:defPPr>
          <a:defRPr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laeys-bram-rap-presentation-blank-2020-  -  Read-Only" id="{80AA0521-958E-4D45-880E-DC0318BB3EB5}" vid="{A9A33127-D275-432C-9162-BA42125FDF31}"/>
    </a:ext>
  </a:extLst>
</a:theme>
</file>

<file path=ppt/theme/theme4.xml><?xml version="1.0" encoding="utf-8"?>
<a:theme xmlns:a="http://schemas.openxmlformats.org/drawingml/2006/main" name="Personalized About RAP">
  <a:themeElements>
    <a:clrScheme name="RAP Color Them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1BDBE"/>
      </a:accent1>
      <a:accent2>
        <a:srgbClr val="F2B516"/>
      </a:accent2>
      <a:accent3>
        <a:srgbClr val="5FBB46"/>
      </a:accent3>
      <a:accent4>
        <a:srgbClr val="165C99"/>
      </a:accent4>
      <a:accent5>
        <a:srgbClr val="F15B4F"/>
      </a:accent5>
      <a:accent6>
        <a:srgbClr val="083050"/>
      </a:accent6>
      <a:hlink>
        <a:srgbClr val="0B2F4E"/>
      </a:hlink>
      <a:folHlink>
        <a:srgbClr val="0B2F4E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laeys-bram-rap-presentation-blank-2020-  -  Read-Only" id="{80AA0521-958E-4D45-880E-DC0318BB3EB5}" vid="{85E493DF-9380-478E-94B2-D64FAEEFDF63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NEMO Committee">
      <a:majorFont>
        <a:latin typeface="Courier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ACER THEME">
  <a:themeElements>
    <a:clrScheme name="ACER VIVID">
      <a:dk1>
        <a:srgbClr val="000000"/>
      </a:dk1>
      <a:lt1>
        <a:srgbClr val="FFFFFF"/>
      </a:lt1>
      <a:dk2>
        <a:srgbClr val="004FEE"/>
      </a:dk2>
      <a:lt2>
        <a:srgbClr val="E6E6E6"/>
      </a:lt2>
      <a:accent1>
        <a:srgbClr val="004FEE"/>
      </a:accent1>
      <a:accent2>
        <a:srgbClr val="9BE6DF"/>
      </a:accent2>
      <a:accent3>
        <a:srgbClr val="FEEA70"/>
      </a:accent3>
      <a:accent4>
        <a:srgbClr val="81F39C"/>
      </a:accent4>
      <a:accent5>
        <a:srgbClr val="BC9BFD"/>
      </a:accent5>
      <a:accent6>
        <a:srgbClr val="FC8585"/>
      </a:accent6>
      <a:hlink>
        <a:srgbClr val="004FEE"/>
      </a:hlink>
      <a:folHlink>
        <a:srgbClr val="004FE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rmAutofit/>
      </a:bodyPr>
      <a:lstStyle>
        <a:defPPr algn="l">
          <a:defRPr b="1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CER Template for Presentations.pptx" id="{8A91DEFB-E877-4CC1-BA6E-1139CBDEF666}" vid="{DAD129F7-AACE-4232-ACAE-3B5F09B27189}"/>
    </a:ext>
  </a:extLst>
</a:theme>
</file>

<file path=ppt/theme/theme7.xml><?xml version="1.0" encoding="utf-8"?>
<a:theme xmlns:a="http://schemas.openxmlformats.org/drawingml/2006/main" name="ACER">
  <a:themeElements>
    <a:clrScheme name="ACER 2021 1">
      <a:dk1>
        <a:srgbClr val="000000"/>
      </a:dk1>
      <a:lt1>
        <a:srgbClr val="FFFFFF"/>
      </a:lt1>
      <a:dk2>
        <a:srgbClr val="3678BD"/>
      </a:dk2>
      <a:lt2>
        <a:srgbClr val="E6E6E6"/>
      </a:lt2>
      <a:accent1>
        <a:srgbClr val="3678BD"/>
      </a:accent1>
      <a:accent2>
        <a:srgbClr val="73CDE1"/>
      </a:accent2>
      <a:accent3>
        <a:srgbClr val="FFE150"/>
      </a:accent3>
      <a:accent4>
        <a:srgbClr val="96CD78"/>
      </a:accent4>
      <a:accent5>
        <a:srgbClr val="E6E6E6"/>
      </a:accent5>
      <a:accent6>
        <a:srgbClr val="C8C8C8"/>
      </a:accent6>
      <a:hlink>
        <a:srgbClr val="3678BD"/>
      </a:hlink>
      <a:folHlink>
        <a:srgbClr val="3678B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CER Template for Presentations" id="{ED379609-9FEF-4706-9592-FE44F80ABA80}" vid="{CF7621DC-25EC-4EF1-9F15-4F4A509A5C3F}"/>
    </a:ext>
  </a:extLst>
</a:theme>
</file>

<file path=ppt/theme/theme8.xml><?xml version="1.0" encoding="utf-8"?>
<a:theme xmlns:a="http://schemas.openxmlformats.org/drawingml/2006/main" name="CEER_NEWtemplate">
  <a:themeElements>
    <a:clrScheme name="CEER GOOD">
      <a:dk1>
        <a:srgbClr val="00457D"/>
      </a:dk1>
      <a:lt1>
        <a:srgbClr val="FFFFFF"/>
      </a:lt1>
      <a:dk2>
        <a:srgbClr val="00457D"/>
      </a:dk2>
      <a:lt2>
        <a:srgbClr val="00457D"/>
      </a:lt2>
      <a:accent1>
        <a:srgbClr val="FABA00"/>
      </a:accent1>
      <a:accent2>
        <a:srgbClr val="00457D"/>
      </a:accent2>
      <a:accent3>
        <a:srgbClr val="00457D"/>
      </a:accent3>
      <a:accent4>
        <a:srgbClr val="00457D"/>
      </a:accent4>
      <a:accent5>
        <a:srgbClr val="FABA00"/>
      </a:accent5>
      <a:accent6>
        <a:srgbClr val="00457D"/>
      </a:accent6>
      <a:hlink>
        <a:srgbClr val="00457D"/>
      </a:hlink>
      <a:folHlink>
        <a:srgbClr val="045BB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DF1DA2E95ACE4F9390177083CBF980" ma:contentTypeVersion="18" ma:contentTypeDescription="Create a new document." ma:contentTypeScope="" ma:versionID="88c6ac6b5a4d05b1459c60ba98a515c5">
  <xsd:schema xmlns:xsd="http://www.w3.org/2001/XMLSchema" xmlns:xs="http://www.w3.org/2001/XMLSchema" xmlns:p="http://schemas.microsoft.com/office/2006/metadata/properties" xmlns:ns2="d6af2e90-a258-4236-9d22-711471a2452e" xmlns:ns3="a8928e3b-1bfa-4815-9217-3ae840afa839" targetNamespace="http://schemas.microsoft.com/office/2006/metadata/properties" ma:root="true" ma:fieldsID="dc606e70e01250a6a2953b1637588902" ns2:_="" ns3:_="">
    <xsd:import namespace="d6af2e90-a258-4236-9d22-711471a2452e"/>
    <xsd:import namespace="a8928e3b-1bfa-4815-9217-3ae840afa83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DateTime" minOccurs="0"/>
                <xsd:element ref="ns2: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af2e90-a258-4236-9d22-711471a245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ateTime" ma:index="20" nillable="true" ma:displayName="Date &amp; Time" ma:format="DateOnly" ma:internalName="DateTime">
      <xsd:simpleType>
        <xsd:restriction base="dms:DateTime"/>
      </xsd:simpleType>
    </xsd:element>
    <xsd:element name="Details" ma:index="21" nillable="true" ma:displayName="Details" ma:format="DateTime" ma:internalName="Details">
      <xsd:simpleType>
        <xsd:restriction base="dms:DateTime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5d898914-053c-49d2-9d1f-ecc9b08b49d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928e3b-1bfa-4815-9217-3ae840afa83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6fd09cf-0c25-42f0-8bf3-66ce0227a544}" ma:internalName="TaxCatchAll" ma:showField="CatchAllData" ma:web="a8928e3b-1bfa-4815-9217-3ae840afa8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8928e3b-1bfa-4815-9217-3ae840afa839">
      <UserInfo>
        <DisplayName>Alba Glass</DisplayName>
        <AccountId>120</AccountId>
        <AccountType/>
      </UserInfo>
      <UserInfo>
        <DisplayName>Andrea Hamzova</DisplayName>
        <AccountId>12</AccountId>
        <AccountType/>
      </UserInfo>
      <UserInfo>
        <DisplayName>Lorraine Claffey</DisplayName>
        <AccountId>176</AccountId>
        <AccountType/>
      </UserInfo>
    </SharedWithUsers>
    <TaxCatchAll xmlns="a8928e3b-1bfa-4815-9217-3ae840afa839" xsi:nil="true"/>
    <DateTime xmlns="d6af2e90-a258-4236-9d22-711471a2452e" xsi:nil="true"/>
    <Details xmlns="d6af2e90-a258-4236-9d22-711471a2452e" xsi:nil="true"/>
    <lcf76f155ced4ddcb4097134ff3c332f xmlns="d6af2e90-a258-4236-9d22-711471a2452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DB5CA5F-EF33-47F9-B15F-419669F2A1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3209B5E-6510-4271-A026-BB0B0DDED302}">
  <ds:schemaRefs>
    <ds:schemaRef ds:uri="a8928e3b-1bfa-4815-9217-3ae840afa839"/>
    <ds:schemaRef ds:uri="d6af2e90-a258-4236-9d22-711471a2452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EFD34AA-A973-4F68-91D6-3F8118A6902A}">
  <ds:schemaRefs>
    <ds:schemaRef ds:uri="a8928e3b-1bfa-4815-9217-3ae840afa839"/>
    <ds:schemaRef ds:uri="d6af2e90-a258-4236-9d22-711471a2452e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Custom</PresentationFormat>
  <Slides>26</Slides>
  <Notes>7</Notes>
  <HiddenSlides>0</HiddenSlides>
  <ScaleCrop>false</ScaleCrop>
  <HeadingPairs>
    <vt:vector size="4" baseType="variant">
      <vt:variant>
        <vt:lpstr>Theme</vt:lpstr>
      </vt:variant>
      <vt:variant>
        <vt:i4>8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Thème Office</vt:lpstr>
      <vt:lpstr>Personalized Cover Slides</vt:lpstr>
      <vt:lpstr>Body Slides</vt:lpstr>
      <vt:lpstr>Personalized About RAP</vt:lpstr>
      <vt:lpstr>Custom Design</vt:lpstr>
      <vt:lpstr>ACER THEME</vt:lpstr>
      <vt:lpstr>ACER</vt:lpstr>
      <vt:lpstr>CEER_NEWtemplate</vt:lpstr>
      <vt:lpstr>PowerPoint Presentation</vt:lpstr>
      <vt:lpstr>Opening Remarks</vt:lpstr>
      <vt:lpstr>Emergency Measures: How to cope with high energy prices</vt:lpstr>
      <vt:lpstr>PowerPoint Presentation</vt:lpstr>
      <vt:lpstr>Emergency Measures: How to cope with high energy prices</vt:lpstr>
      <vt:lpstr>Emergency measures: how to cope with high energy prices</vt:lpstr>
      <vt:lpstr>Gas and electricity supply challenges drive prices up</vt:lpstr>
      <vt:lpstr>Current gas storage ‘success’ has come with a price</vt:lpstr>
      <vt:lpstr>… and price expectations for coming years remain high</vt:lpstr>
      <vt:lpstr>In turn, impacting record high retail prices</vt:lpstr>
      <vt:lpstr>Energy expenditure impacting households</vt:lpstr>
      <vt:lpstr>Ongoing assistance to vulnerable consumers</vt:lpstr>
      <vt:lpstr> Poll question</vt:lpstr>
      <vt:lpstr>Emergency Measures: How to cope with high energy prices</vt:lpstr>
      <vt:lpstr>See you again in 20 minutes</vt:lpstr>
      <vt:lpstr>Market Design: Long-term adjustments or tweaks?</vt:lpstr>
      <vt:lpstr>CEER Annual Conference Electricity Market Design </vt:lpstr>
      <vt:lpstr>The electricity world changes anyway</vt:lpstr>
      <vt:lpstr>Electricity Market reform, beyond the gas crisis</vt:lpstr>
      <vt:lpstr>Electricity market reform goals  Transition away from fossil gas</vt:lpstr>
      <vt:lpstr>PowerPoint Presentation</vt:lpstr>
      <vt:lpstr>PowerPoint Presentation</vt:lpstr>
      <vt:lpstr>PowerPoint Presentation</vt:lpstr>
      <vt:lpstr>Market Design: Long-term adjustments or tweaks?</vt:lpstr>
      <vt:lpstr>Closing Remark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edric Hanon</dc:creator>
  <cp:revision>1</cp:revision>
  <dcterms:created xsi:type="dcterms:W3CDTF">2022-11-29T14:18:05Z</dcterms:created>
  <dcterms:modified xsi:type="dcterms:W3CDTF">2022-12-14T15:2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DF1DA2E95ACE4F9390177083CBF980</vt:lpwstr>
  </property>
  <property fmtid="{D5CDD505-2E9C-101B-9397-08002B2CF9AE}" pid="3" name="MediaServiceImageTags">
    <vt:lpwstr/>
  </property>
</Properties>
</file>